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5"/>
  </p:sldMasterIdLst>
  <p:notesMasterIdLst>
    <p:notesMasterId r:id="rId28"/>
  </p:notesMasterIdLst>
  <p:handoutMasterIdLst>
    <p:handoutMasterId r:id="rId29"/>
  </p:handoutMasterIdLst>
  <p:sldIdLst>
    <p:sldId id="310" r:id="rId16"/>
    <p:sldId id="327" r:id="rId17"/>
    <p:sldId id="331" r:id="rId18"/>
    <p:sldId id="332" r:id="rId19"/>
    <p:sldId id="333" r:id="rId20"/>
    <p:sldId id="322" r:id="rId21"/>
    <p:sldId id="330" r:id="rId22"/>
    <p:sldId id="326" r:id="rId23"/>
    <p:sldId id="328" r:id="rId24"/>
    <p:sldId id="329" r:id="rId25"/>
    <p:sldId id="259" r:id="rId26"/>
    <p:sldId id="271" r:id="rId27"/>
  </p:sldIdLst>
  <p:sldSz cx="12192000" cy="6858000"/>
  <p:notesSz cx="6858000" cy="9144000"/>
  <p:custDataLst>
    <p:tags r:id="rId30"/>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usenhart, Samantha" initials="BS" lastIdx="3" clrIdx="0">
    <p:extLst>
      <p:ext uri="{19B8F6BF-5375-455C-9EA6-DF929625EA0E}">
        <p15:presenceInfo xmlns:p15="http://schemas.microsoft.com/office/powerpoint/2012/main" userId="Busenhart, Samantha"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0F0F0"/>
    <a:srgbClr val="202020"/>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C5B716DB-F0AB-40EA-B87D-980DFD17F45D}">
  <a:tblStyle styleId="{C5B716DB-F0AB-40EA-B87D-980DFD17F45D}" styleName="MMC Table Style 1">
    <a:wholeTbl>
      <a:tcStyle>
        <a:tcBdr>
          <a:left>
            <a:ln>
              <a:noFill/>
            </a:ln>
          </a:left>
          <a:right>
            <a:ln>
              <a:noFill/>
            </a:ln>
          </a:right>
          <a:top>
            <a:ln>
              <a:noFill/>
            </a:ln>
          </a:top>
          <a:bottom>
            <a:ln>
              <a:noFill/>
            </a:ln>
          </a:bottom>
          <a:insideH>
            <a:ln>
              <a:noFill/>
            </a:ln>
          </a:insideH>
          <a:insideV>
            <a:ln>
              <a:noFill/>
            </a:ln>
          </a:insideV>
        </a:tcBdr>
      </a:tcStyle>
    </a:wholeTbl>
    <a:band1H>
      <a:tcStyle>
        <a:tcBdr/>
        <a:fill>
          <a:solidFill>
            <a:srgbClr val="F0F0F0"/>
          </a:solidFill>
        </a:fill>
      </a:tcStyle>
    </a:band1H>
    <a:band2H>
      <a:tcStyle>
        <a:tcBdr/>
        <a:fill>
          <a:solidFill>
            <a:schemeClr val="bg1"/>
          </a:solidFill>
        </a:fill>
      </a:tcStyle>
    </a:band2H>
    <a:firstRow>
      <a:tcTxStyle b="on">
        <a:fontRef idx="minor">
          <a:prstClr val="black"/>
        </a:fontRef>
        <a:schemeClr val="bg1"/>
      </a:tcTxStyle>
      <a:tcStyle>
        <a:tcBdr/>
        <a:fill>
          <a:solidFill>
            <a:schemeClr val="tx2"/>
          </a:solidFill>
        </a:fill>
      </a:tcStyle>
    </a:firstRow>
  </a:tblStyle>
  <a:tblStyle styleId="{0E1F084C-850E-45E5-B3AC-BCBCA631B62A}" styleName="MMC Table Style 2">
    <a:wholeTbl>
      <a:tcStyle>
        <a:tcBdr>
          <a:left>
            <a:ln>
              <a:noFill/>
            </a:ln>
          </a:left>
          <a:right>
            <a:ln>
              <a:noFill/>
            </a:ln>
          </a:right>
          <a:top>
            <a:ln>
              <a:noFill/>
            </a:ln>
          </a:top>
          <a:bottom>
            <a:ln w="12700">
              <a:solidFill>
                <a:schemeClr val="tx1"/>
              </a:solidFill>
            </a:ln>
          </a:bottom>
          <a:insideH>
            <a:ln w="12700">
              <a:solidFill>
                <a:schemeClr val="tx1"/>
              </a:solidFill>
            </a:ln>
          </a:insideH>
          <a:insideV>
            <a:ln>
              <a:noFill/>
            </a:ln>
          </a:insideV>
        </a:tcBdr>
      </a:tcStyle>
    </a:wholeTbl>
    <a:firstRow>
      <a:tcTxStyle b="on">
        <a:fontRef idx="minor">
          <a:prstClr val="black"/>
        </a:fontRef>
        <a:schemeClr val="accent2"/>
      </a:tcTxStyle>
      <a:tcStyle>
        <a:tcBdr/>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14" autoAdjust="0"/>
    <p:restoredTop sz="92929" autoAdjust="0"/>
  </p:normalViewPr>
  <p:slideViewPr>
    <p:cSldViewPr snapToGrid="0" snapToObjects="1">
      <p:cViewPr varScale="1">
        <p:scale>
          <a:sx n="107" d="100"/>
          <a:sy n="107" d="100"/>
        </p:scale>
        <p:origin x="750" y="78"/>
      </p:cViewPr>
      <p:guideLst>
        <p:guide orient="horz" pos="2160"/>
        <p:guide pos="3840"/>
      </p:guideLst>
    </p:cSldViewPr>
  </p:slideViewPr>
  <p:notesTextViewPr>
    <p:cViewPr>
      <p:scale>
        <a:sx n="100" d="100"/>
        <a:sy n="100" d="100"/>
      </p:scale>
      <p:origin x="0" y="0"/>
    </p:cViewPr>
  </p:notesTextViewPr>
  <p:notesViewPr>
    <p:cSldViewPr snapToGrid="0" snapToObjects="1">
      <p:cViewPr varScale="1">
        <p:scale>
          <a:sx n="52" d="100"/>
          <a:sy n="52" d="100"/>
        </p:scale>
        <p:origin x="2016" y="56"/>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customXml" Target="../customXml/item8.xml"/><Relationship Id="rId13" Type="http://schemas.openxmlformats.org/officeDocument/2006/relationships/customXml" Target="../customXml/item13.xml"/><Relationship Id="rId18" Type="http://schemas.openxmlformats.org/officeDocument/2006/relationships/slide" Target="slides/slide3.xml"/><Relationship Id="rId26" Type="http://schemas.openxmlformats.org/officeDocument/2006/relationships/slide" Target="slides/slide11.xml"/><Relationship Id="rId3" Type="http://schemas.openxmlformats.org/officeDocument/2006/relationships/customXml" Target="../customXml/item3.xml"/><Relationship Id="rId21" Type="http://schemas.openxmlformats.org/officeDocument/2006/relationships/slide" Target="slides/slide6.xml"/><Relationship Id="rId34" Type="http://schemas.openxmlformats.org/officeDocument/2006/relationships/theme" Target="theme/theme1.xml"/><Relationship Id="rId7" Type="http://schemas.openxmlformats.org/officeDocument/2006/relationships/customXml" Target="../customXml/item7.xml"/><Relationship Id="rId12" Type="http://schemas.openxmlformats.org/officeDocument/2006/relationships/customXml" Target="../customXml/item12.xml"/><Relationship Id="rId17" Type="http://schemas.openxmlformats.org/officeDocument/2006/relationships/slide" Target="slides/slide2.xml"/><Relationship Id="rId25" Type="http://schemas.openxmlformats.org/officeDocument/2006/relationships/slide" Target="slides/slide10.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xml"/><Relationship Id="rId20" Type="http://schemas.openxmlformats.org/officeDocument/2006/relationships/slide" Target="slides/slide5.xml"/><Relationship Id="rId29"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customXml" Target="../customXml/item11.xml"/><Relationship Id="rId24" Type="http://schemas.openxmlformats.org/officeDocument/2006/relationships/slide" Target="slides/slide9.xml"/><Relationship Id="rId32" Type="http://schemas.openxmlformats.org/officeDocument/2006/relationships/presProps" Target="presProps.xml"/><Relationship Id="rId5" Type="http://schemas.openxmlformats.org/officeDocument/2006/relationships/customXml" Target="../customXml/item5.xml"/><Relationship Id="rId15" Type="http://schemas.openxmlformats.org/officeDocument/2006/relationships/slideMaster" Target="slideMasters/slideMaster1.xml"/><Relationship Id="rId23" Type="http://schemas.openxmlformats.org/officeDocument/2006/relationships/slide" Target="slides/slide8.xml"/><Relationship Id="rId28" Type="http://schemas.openxmlformats.org/officeDocument/2006/relationships/notesMaster" Target="notesMasters/notesMaster1.xml"/><Relationship Id="rId10" Type="http://schemas.openxmlformats.org/officeDocument/2006/relationships/customXml" Target="../customXml/item10.xml"/><Relationship Id="rId19" Type="http://schemas.openxmlformats.org/officeDocument/2006/relationships/slide" Target="slides/slide4.xml"/><Relationship Id="rId31" Type="http://schemas.openxmlformats.org/officeDocument/2006/relationships/commentAuthors" Target="commentAuthors.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customXml" Target="../customXml/item14.xml"/><Relationship Id="rId22" Type="http://schemas.openxmlformats.org/officeDocument/2006/relationships/slide" Target="slides/slide7.xml"/><Relationship Id="rId27" Type="http://schemas.openxmlformats.org/officeDocument/2006/relationships/slide" Target="slides/slide12.xml"/><Relationship Id="rId30" Type="http://schemas.openxmlformats.org/officeDocument/2006/relationships/tags" Target="tags/tag1.xml"/><Relationship Id="rId35"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CFBB8F7-0AC2-4C44-8CAE-A63E710FEEC6}" type="doc">
      <dgm:prSet loTypeId="urn:microsoft.com/office/officeart/2008/layout/SquareAccentList" loCatId="list" qsTypeId="urn:microsoft.com/office/officeart/2005/8/quickstyle/simple1" qsCatId="simple" csTypeId="urn:microsoft.com/office/officeart/2005/8/colors/accent1_2" csCatId="accent1" phldr="1"/>
      <dgm:spPr/>
      <dgm:t>
        <a:bodyPr/>
        <a:lstStyle/>
        <a:p>
          <a:endParaRPr lang="en-US"/>
        </a:p>
      </dgm:t>
    </dgm:pt>
    <dgm:pt modelId="{BDD1D67A-DF5A-44ED-B9BB-029A8177B0E8}">
      <dgm:prSet phldrT="[Text]" custT="1"/>
      <dgm:spPr/>
      <dgm:t>
        <a:bodyPr/>
        <a:lstStyle/>
        <a:p>
          <a:r>
            <a:rPr lang="en-US" sz="1600" dirty="0" smtClean="0">
              <a:solidFill>
                <a:schemeClr val="bg1"/>
              </a:solidFill>
            </a:rPr>
            <a:t>Caribe</a:t>
          </a:r>
          <a:endParaRPr lang="en-US" sz="1600" dirty="0">
            <a:solidFill>
              <a:schemeClr val="bg1"/>
            </a:solidFill>
          </a:endParaRPr>
        </a:p>
      </dgm:t>
    </dgm:pt>
    <dgm:pt modelId="{6422CE19-7FC5-4C4E-8507-F9B8D7180500}" type="parTrans" cxnId="{92145342-D26C-4169-A8D7-78D2843ACE45}">
      <dgm:prSet/>
      <dgm:spPr/>
      <dgm:t>
        <a:bodyPr/>
        <a:lstStyle/>
        <a:p>
          <a:endParaRPr lang="en-US" sz="1200"/>
        </a:p>
      </dgm:t>
    </dgm:pt>
    <dgm:pt modelId="{DAF876B2-A3D9-427D-8E18-FDA07CD1DDF1}" type="sibTrans" cxnId="{92145342-D26C-4169-A8D7-78D2843ACE45}">
      <dgm:prSet/>
      <dgm:spPr/>
      <dgm:t>
        <a:bodyPr/>
        <a:lstStyle/>
        <a:p>
          <a:endParaRPr lang="en-US" sz="1200"/>
        </a:p>
      </dgm:t>
    </dgm:pt>
    <dgm:pt modelId="{44F7CA58-55B3-4979-9FD5-97B533A0EB77}">
      <dgm:prSet phldrT="[Text]" custT="1"/>
      <dgm:spPr/>
      <dgm:t>
        <a:bodyPr/>
        <a:lstStyle/>
        <a:p>
          <a:r>
            <a:rPr lang="es-CO" sz="1200" noProof="0" dirty="0" smtClean="0"/>
            <a:t>Disminución de capacidad en islas con mayor exposición CAT fue ligeramente compensada por aumentos o capacidades nuevas</a:t>
          </a:r>
          <a:endParaRPr lang="es-CO" sz="1200" noProof="0" dirty="0"/>
        </a:p>
      </dgm:t>
    </dgm:pt>
    <dgm:pt modelId="{585320C2-8152-42C5-9DA8-71D39E3F8F52}" type="parTrans" cxnId="{CF9E54DD-576E-40B6-8962-DD9ECBA2BDD8}">
      <dgm:prSet/>
      <dgm:spPr/>
      <dgm:t>
        <a:bodyPr/>
        <a:lstStyle/>
        <a:p>
          <a:endParaRPr lang="en-US" sz="1200"/>
        </a:p>
      </dgm:t>
    </dgm:pt>
    <dgm:pt modelId="{09B08F4C-A721-413D-B8BA-14566E17A477}" type="sibTrans" cxnId="{CF9E54DD-576E-40B6-8962-DD9ECBA2BDD8}">
      <dgm:prSet/>
      <dgm:spPr/>
      <dgm:t>
        <a:bodyPr/>
        <a:lstStyle/>
        <a:p>
          <a:endParaRPr lang="en-US" sz="1200"/>
        </a:p>
      </dgm:t>
    </dgm:pt>
    <dgm:pt modelId="{3E4BA794-FADA-4257-92AD-2B6A206B2F6D}">
      <dgm:prSet phldrT="[Text]" custT="1"/>
      <dgm:spPr/>
      <dgm:t>
        <a:bodyPr/>
        <a:lstStyle/>
        <a:p>
          <a:r>
            <a:rPr lang="es-CO" sz="1200" noProof="0" dirty="0" smtClean="0"/>
            <a:t>0% a +5% en pequeños XL / zonas de menos exposición CAT (ej. Caribe Sur).</a:t>
          </a:r>
          <a:endParaRPr lang="es-CO" sz="1200" noProof="0" dirty="0"/>
        </a:p>
      </dgm:t>
    </dgm:pt>
    <dgm:pt modelId="{529CF61C-7A82-48B9-A0EF-0B995FA18531}" type="parTrans" cxnId="{8B4D25FF-0249-4786-B91E-592729CDA921}">
      <dgm:prSet/>
      <dgm:spPr/>
      <dgm:t>
        <a:bodyPr/>
        <a:lstStyle/>
        <a:p>
          <a:endParaRPr lang="en-US" sz="1200"/>
        </a:p>
      </dgm:t>
    </dgm:pt>
    <dgm:pt modelId="{16F849D8-CBF6-42B8-940F-9DE6B7C63149}" type="sibTrans" cxnId="{8B4D25FF-0249-4786-B91E-592729CDA921}">
      <dgm:prSet/>
      <dgm:spPr/>
      <dgm:t>
        <a:bodyPr/>
        <a:lstStyle/>
        <a:p>
          <a:endParaRPr lang="en-US" sz="1200"/>
        </a:p>
      </dgm:t>
    </dgm:pt>
    <dgm:pt modelId="{4AC8AE48-8BC7-4591-9AF7-6BCCFFC356E1}">
      <dgm:prSet phldrT="[Text]" custT="1"/>
      <dgm:spPr/>
      <dgm:t>
        <a:bodyPr/>
        <a:lstStyle/>
        <a:p>
          <a:r>
            <a:rPr lang="en-US" sz="1600" dirty="0" smtClean="0">
              <a:solidFill>
                <a:schemeClr val="bg1"/>
              </a:solidFill>
            </a:rPr>
            <a:t>America Latina</a:t>
          </a:r>
          <a:endParaRPr lang="en-US" sz="1600" dirty="0">
            <a:solidFill>
              <a:schemeClr val="bg1"/>
            </a:solidFill>
          </a:endParaRPr>
        </a:p>
      </dgm:t>
    </dgm:pt>
    <dgm:pt modelId="{8B07E9C7-52DE-40FE-9F42-174E8BC26B4B}" type="parTrans" cxnId="{23C750DE-7BA0-4488-99FE-FA5E2F934241}">
      <dgm:prSet/>
      <dgm:spPr/>
      <dgm:t>
        <a:bodyPr/>
        <a:lstStyle/>
        <a:p>
          <a:endParaRPr lang="en-US" sz="1200"/>
        </a:p>
      </dgm:t>
    </dgm:pt>
    <dgm:pt modelId="{656A3F9E-058F-4F20-A049-084ACBF2EE96}" type="sibTrans" cxnId="{23C750DE-7BA0-4488-99FE-FA5E2F934241}">
      <dgm:prSet/>
      <dgm:spPr/>
      <dgm:t>
        <a:bodyPr/>
        <a:lstStyle/>
        <a:p>
          <a:endParaRPr lang="en-US" sz="1200"/>
        </a:p>
      </dgm:t>
    </dgm:pt>
    <dgm:pt modelId="{54305E32-C77D-41B5-A0E8-C4BD57BF9F72}">
      <dgm:prSet phldrT="[Text]" custT="1"/>
      <dgm:spPr/>
      <dgm:t>
        <a:bodyPr/>
        <a:lstStyle/>
        <a:p>
          <a:r>
            <a:rPr lang="es-CO" sz="1200" noProof="0" dirty="0" smtClean="0"/>
            <a:t>Disponibilidad de capacidad varió significativamente dependiendo de la exposición CAT y capacidad requerida</a:t>
          </a:r>
          <a:endParaRPr lang="es-CO" sz="1200" noProof="0" dirty="0"/>
        </a:p>
      </dgm:t>
    </dgm:pt>
    <dgm:pt modelId="{832B48DC-59B8-4EB0-A699-75AEC0F5325D}" type="parTrans" cxnId="{45BBED76-3B3B-4867-B793-D00C2F788F1C}">
      <dgm:prSet/>
      <dgm:spPr/>
      <dgm:t>
        <a:bodyPr/>
        <a:lstStyle/>
        <a:p>
          <a:endParaRPr lang="en-US" sz="1200"/>
        </a:p>
      </dgm:t>
    </dgm:pt>
    <dgm:pt modelId="{2EBDC817-2FC3-4466-A88B-D0047EF0E146}" type="sibTrans" cxnId="{45BBED76-3B3B-4867-B793-D00C2F788F1C}">
      <dgm:prSet/>
      <dgm:spPr/>
      <dgm:t>
        <a:bodyPr/>
        <a:lstStyle/>
        <a:p>
          <a:endParaRPr lang="en-US" sz="1200"/>
        </a:p>
      </dgm:t>
    </dgm:pt>
    <dgm:pt modelId="{78D456C5-7EC4-495B-9ABB-C5EF98983877}">
      <dgm:prSet phldrT="[Text]" custT="1"/>
      <dgm:spPr/>
      <dgm:t>
        <a:bodyPr/>
        <a:lstStyle/>
        <a:p>
          <a:r>
            <a:rPr lang="es-CO" sz="1200" noProof="0" dirty="0" smtClean="0"/>
            <a:t>+5 a +10% en XL grandes / mayor exposición CAT (ej. Colombia / Chile) – aumentos de hasta +15% en Chile.</a:t>
          </a:r>
          <a:endParaRPr lang="es-CO" sz="1200" noProof="0" dirty="0"/>
        </a:p>
      </dgm:t>
    </dgm:pt>
    <dgm:pt modelId="{CD731CB4-1302-412C-B9B5-F9FC754E5BF2}" type="parTrans" cxnId="{59FE2211-2F88-4D36-A1FA-0031F65C7E6D}">
      <dgm:prSet/>
      <dgm:spPr/>
      <dgm:t>
        <a:bodyPr/>
        <a:lstStyle/>
        <a:p>
          <a:endParaRPr lang="en-US" sz="1200"/>
        </a:p>
      </dgm:t>
    </dgm:pt>
    <dgm:pt modelId="{612D82AE-17FD-4C20-AFA1-44557A7FE39B}" type="sibTrans" cxnId="{59FE2211-2F88-4D36-A1FA-0031F65C7E6D}">
      <dgm:prSet/>
      <dgm:spPr/>
      <dgm:t>
        <a:bodyPr/>
        <a:lstStyle/>
        <a:p>
          <a:endParaRPr lang="en-US" sz="1200"/>
        </a:p>
      </dgm:t>
    </dgm:pt>
    <dgm:pt modelId="{9C57A1BA-7A0A-4BEF-9E61-ED1B2B2C0809}">
      <dgm:prSet phldrT="[Text]" custT="1"/>
      <dgm:spPr/>
      <dgm:t>
        <a:bodyPr/>
        <a:lstStyle/>
        <a:p>
          <a:r>
            <a:rPr lang="es-CO" sz="1200" noProof="0" dirty="0" smtClean="0"/>
            <a:t>Presión por parte de reaseguradores a cedentes para aumentar tasas originales</a:t>
          </a:r>
          <a:endParaRPr lang="es-CO" sz="1200" noProof="0" dirty="0">
            <a:latin typeface="+mn-lt"/>
          </a:endParaRPr>
        </a:p>
      </dgm:t>
    </dgm:pt>
    <dgm:pt modelId="{DBBCF386-01A2-4E55-8EBC-BE3350C3102A}" type="parTrans" cxnId="{A88BD153-C874-42B3-8FA4-38E8EB6BAE68}">
      <dgm:prSet/>
      <dgm:spPr/>
      <dgm:t>
        <a:bodyPr/>
        <a:lstStyle/>
        <a:p>
          <a:endParaRPr lang="en-US" sz="1200"/>
        </a:p>
      </dgm:t>
    </dgm:pt>
    <dgm:pt modelId="{654C7D75-F8E1-4D2E-A4FA-E6896036ECA7}" type="sibTrans" cxnId="{A88BD153-C874-42B3-8FA4-38E8EB6BAE68}">
      <dgm:prSet/>
      <dgm:spPr/>
      <dgm:t>
        <a:bodyPr/>
        <a:lstStyle/>
        <a:p>
          <a:endParaRPr lang="en-US" sz="1200"/>
        </a:p>
      </dgm:t>
    </dgm:pt>
    <dgm:pt modelId="{BCE118BE-782F-4A26-85C2-47CC2F455053}">
      <dgm:prSet phldrT="[Text]" custT="1"/>
      <dgm:spPr/>
      <dgm:t>
        <a:bodyPr/>
        <a:lstStyle/>
        <a:p>
          <a:r>
            <a:rPr lang="en-US" sz="1600" dirty="0" smtClean="0">
              <a:solidFill>
                <a:schemeClr val="bg1"/>
              </a:solidFill>
            </a:rPr>
            <a:t>Vida &amp; </a:t>
          </a:r>
          <a:r>
            <a:rPr lang="en-US" sz="1600" dirty="0" err="1" smtClean="0">
              <a:solidFill>
                <a:schemeClr val="bg1"/>
              </a:solidFill>
            </a:rPr>
            <a:t>Salud</a:t>
          </a:r>
          <a:endParaRPr lang="en-US" sz="1600" dirty="0">
            <a:solidFill>
              <a:schemeClr val="bg1"/>
            </a:solidFill>
          </a:endParaRPr>
        </a:p>
      </dgm:t>
    </dgm:pt>
    <dgm:pt modelId="{F4325F86-AF3F-4CAD-8BBC-0BDB0289D6F5}" type="parTrans" cxnId="{54B6A500-2818-4497-8AA3-1A4B3E904F2F}">
      <dgm:prSet/>
      <dgm:spPr/>
      <dgm:t>
        <a:bodyPr/>
        <a:lstStyle/>
        <a:p>
          <a:endParaRPr lang="en-US" sz="1200"/>
        </a:p>
      </dgm:t>
    </dgm:pt>
    <dgm:pt modelId="{E229F954-7C2D-4F9D-9DCE-0238ABE74102}" type="sibTrans" cxnId="{54B6A500-2818-4497-8AA3-1A4B3E904F2F}">
      <dgm:prSet/>
      <dgm:spPr/>
      <dgm:t>
        <a:bodyPr/>
        <a:lstStyle/>
        <a:p>
          <a:endParaRPr lang="en-US" sz="1200"/>
        </a:p>
      </dgm:t>
    </dgm:pt>
    <dgm:pt modelId="{2F54F646-FAC1-4E4E-A570-285E070AB3E0}">
      <dgm:prSet phldrT="[Text]" custT="1"/>
      <dgm:spPr/>
      <dgm:t>
        <a:bodyPr/>
        <a:lstStyle/>
        <a:p>
          <a:r>
            <a:rPr lang="es-CO" sz="1200" noProof="0" dirty="0" smtClean="0">
              <a:latin typeface="+mn-lt"/>
              <a:cs typeface="Calibri" panose="020F0502020204030204" pitchFamily="34" charset="0"/>
            </a:rPr>
            <a:t>Existe capacidad en Vida pero con precios considerables debido a </a:t>
          </a:r>
          <a:r>
            <a:rPr lang="es-CO" sz="1200" noProof="0" dirty="0" smtClean="0">
              <a:latin typeface="+mn-lt"/>
              <a:cs typeface="Calibri" panose="020F0502020204030204" pitchFamily="34" charset="0"/>
            </a:rPr>
            <a:t>pérdidas </a:t>
          </a:r>
          <a:r>
            <a:rPr lang="es-CO" sz="1200" noProof="0" dirty="0" smtClean="0">
              <a:latin typeface="+mn-lt"/>
              <a:cs typeface="Calibri" panose="020F0502020204030204" pitchFamily="34" charset="0"/>
            </a:rPr>
            <a:t>por COVID</a:t>
          </a:r>
          <a:endParaRPr lang="es-CO" sz="1200" noProof="0" dirty="0">
            <a:latin typeface="+mn-lt"/>
          </a:endParaRPr>
        </a:p>
      </dgm:t>
    </dgm:pt>
    <dgm:pt modelId="{23BC94E0-5C7C-4461-9D11-56C1C998E038}" type="parTrans" cxnId="{8CC5F491-9454-4CC1-901F-807FC397E567}">
      <dgm:prSet/>
      <dgm:spPr/>
      <dgm:t>
        <a:bodyPr/>
        <a:lstStyle/>
        <a:p>
          <a:endParaRPr lang="en-US" sz="1200"/>
        </a:p>
      </dgm:t>
    </dgm:pt>
    <dgm:pt modelId="{6F116D1D-B2CF-4E35-B77D-63EA462DDCE4}" type="sibTrans" cxnId="{8CC5F491-9454-4CC1-901F-807FC397E567}">
      <dgm:prSet/>
      <dgm:spPr/>
      <dgm:t>
        <a:bodyPr/>
        <a:lstStyle/>
        <a:p>
          <a:endParaRPr lang="en-US" sz="1200"/>
        </a:p>
      </dgm:t>
    </dgm:pt>
    <dgm:pt modelId="{D87D9EB8-0258-4EF7-8FD2-B5C39863F4AD}">
      <dgm:prSet phldrT="[Text]" custT="1"/>
      <dgm:spPr/>
      <dgm:t>
        <a:bodyPr/>
        <a:lstStyle/>
        <a:p>
          <a:r>
            <a:rPr lang="es-CO" sz="1200" noProof="0" dirty="0" smtClean="0"/>
            <a:t>Efectos de largo plazo de la pandemia (COVID prolongado, Salud mental) mantienen incertidumbre sobre el futuro.</a:t>
          </a:r>
          <a:endParaRPr lang="es-CO" sz="1200" noProof="0" dirty="0"/>
        </a:p>
      </dgm:t>
    </dgm:pt>
    <dgm:pt modelId="{40E99D5E-73B2-4B9D-9EB4-FEC1C020BA26}" type="parTrans" cxnId="{3DA29BF0-59A9-4C19-8EE5-2DE428760C76}">
      <dgm:prSet/>
      <dgm:spPr/>
      <dgm:t>
        <a:bodyPr/>
        <a:lstStyle/>
        <a:p>
          <a:endParaRPr lang="en-US" sz="1200"/>
        </a:p>
      </dgm:t>
    </dgm:pt>
    <dgm:pt modelId="{207FB897-52F9-43AB-BAC6-ED7C677D01E1}" type="sibTrans" cxnId="{3DA29BF0-59A9-4C19-8EE5-2DE428760C76}">
      <dgm:prSet/>
      <dgm:spPr/>
      <dgm:t>
        <a:bodyPr/>
        <a:lstStyle/>
        <a:p>
          <a:endParaRPr lang="en-US" sz="1200"/>
        </a:p>
      </dgm:t>
    </dgm:pt>
    <dgm:pt modelId="{7BADD6BF-E313-49D3-A02D-879D5108B75E}">
      <dgm:prSet phldrT="[Text]" custT="1"/>
      <dgm:spPr/>
      <dgm:t>
        <a:bodyPr/>
        <a:lstStyle/>
        <a:p>
          <a:r>
            <a:rPr lang="es-CO" sz="1200" noProof="0" dirty="0" smtClean="0"/>
            <a:t>Nuevas Fuentes de capacidad han llegado al Mercado pero el </a:t>
          </a:r>
          <a:r>
            <a:rPr lang="es-CO" sz="1200" noProof="0" dirty="0" smtClean="0"/>
            <a:t>número </a:t>
          </a:r>
          <a:r>
            <a:rPr lang="es-CO" sz="1200" noProof="0" dirty="0" smtClean="0"/>
            <a:t>de recursos ha </a:t>
          </a:r>
          <a:r>
            <a:rPr lang="es-CO" sz="1200" noProof="0" dirty="0" smtClean="0"/>
            <a:t>hecho más lento </a:t>
          </a:r>
          <a:r>
            <a:rPr lang="es-CO" sz="1200" noProof="0" dirty="0" smtClean="0"/>
            <a:t>el proceso.</a:t>
          </a:r>
          <a:endParaRPr lang="es-CO" sz="1200" noProof="0" dirty="0"/>
        </a:p>
      </dgm:t>
    </dgm:pt>
    <dgm:pt modelId="{CF147366-E48E-48D9-8C12-D1CF6AA563DF}" type="parTrans" cxnId="{F58E0230-D0B1-4D88-91EB-944BBB5754A3}">
      <dgm:prSet/>
      <dgm:spPr/>
      <dgm:t>
        <a:bodyPr/>
        <a:lstStyle/>
        <a:p>
          <a:endParaRPr lang="en-US" sz="1200"/>
        </a:p>
      </dgm:t>
    </dgm:pt>
    <dgm:pt modelId="{A899A7D9-7B08-4F9E-91E7-1AA6B13A1E7C}" type="sibTrans" cxnId="{F58E0230-D0B1-4D88-91EB-944BBB5754A3}">
      <dgm:prSet/>
      <dgm:spPr/>
      <dgm:t>
        <a:bodyPr/>
        <a:lstStyle/>
        <a:p>
          <a:endParaRPr lang="en-US" sz="1200"/>
        </a:p>
      </dgm:t>
    </dgm:pt>
    <dgm:pt modelId="{9FCE8364-3132-4668-ABAF-108BCC000A2E}">
      <dgm:prSet phldrT="[Text]" custT="1"/>
      <dgm:spPr/>
      <dgm:t>
        <a:bodyPr/>
        <a:lstStyle/>
        <a:p>
          <a:r>
            <a:rPr lang="es-CO" sz="1200" noProof="0" dirty="0" smtClean="0"/>
            <a:t>Algunos reaseguradores renovaron su capacidad actual pero no esperan aumentarla.</a:t>
          </a:r>
          <a:endParaRPr lang="es-CO" sz="1200" noProof="0" dirty="0"/>
        </a:p>
      </dgm:t>
    </dgm:pt>
    <dgm:pt modelId="{5836509A-5B7A-48A8-AE78-41AC1D8968FB}" type="parTrans" cxnId="{D3A05791-A92A-41BF-8D47-1341FF9FC7E8}">
      <dgm:prSet/>
      <dgm:spPr/>
      <dgm:t>
        <a:bodyPr/>
        <a:lstStyle/>
        <a:p>
          <a:endParaRPr lang="en-US" sz="1600"/>
        </a:p>
      </dgm:t>
    </dgm:pt>
    <dgm:pt modelId="{7C571CD5-EC91-434F-B0DC-20FD6E41EE74}" type="sibTrans" cxnId="{D3A05791-A92A-41BF-8D47-1341FF9FC7E8}">
      <dgm:prSet/>
      <dgm:spPr/>
      <dgm:t>
        <a:bodyPr/>
        <a:lstStyle/>
        <a:p>
          <a:endParaRPr lang="en-US" sz="1600"/>
        </a:p>
      </dgm:t>
    </dgm:pt>
    <dgm:pt modelId="{0EF46A7D-89ED-49EE-8194-9CC1B9910765}">
      <dgm:prSet phldrT="[Text]" custT="1"/>
      <dgm:spPr/>
      <dgm:t>
        <a:bodyPr/>
        <a:lstStyle/>
        <a:p>
          <a:r>
            <a:rPr lang="es-CO" sz="1200" noProof="0" dirty="0" smtClean="0"/>
            <a:t>Reaseguradores están evaluando su posición y esto </a:t>
          </a:r>
          <a:r>
            <a:rPr lang="es-CO" sz="1200" noProof="0" dirty="0" smtClean="0"/>
            <a:t>está </a:t>
          </a:r>
          <a:r>
            <a:rPr lang="es-CO" sz="1200" noProof="0" dirty="0" smtClean="0"/>
            <a:t>creando retrasos en procesos de renovación.</a:t>
          </a:r>
          <a:endParaRPr lang="es-CO" sz="1200" noProof="0" dirty="0"/>
        </a:p>
      </dgm:t>
    </dgm:pt>
    <dgm:pt modelId="{C88E7CF3-089E-45D1-9E30-026B6B43C1ED}" type="parTrans" cxnId="{CAC59BF9-63B1-4BA4-B905-1AD4A421525A}">
      <dgm:prSet/>
      <dgm:spPr/>
      <dgm:t>
        <a:bodyPr/>
        <a:lstStyle/>
        <a:p>
          <a:endParaRPr lang="en-US" sz="1600"/>
        </a:p>
      </dgm:t>
    </dgm:pt>
    <dgm:pt modelId="{C5C8E90B-1730-484C-807A-0158F8715772}" type="sibTrans" cxnId="{CAC59BF9-63B1-4BA4-B905-1AD4A421525A}">
      <dgm:prSet/>
      <dgm:spPr/>
      <dgm:t>
        <a:bodyPr/>
        <a:lstStyle/>
        <a:p>
          <a:endParaRPr lang="en-US" sz="1600"/>
        </a:p>
      </dgm:t>
    </dgm:pt>
    <dgm:pt modelId="{C32BE94C-3630-4D8B-B815-2DA9AF76E876}">
      <dgm:prSet phldrT="[Text]" custT="1"/>
      <dgm:spPr/>
      <dgm:t>
        <a:bodyPr/>
        <a:lstStyle/>
        <a:p>
          <a:r>
            <a:rPr lang="es-CO" sz="1200" noProof="0" dirty="0" smtClean="0"/>
            <a:t>0% a +5% en XL pequeños / zonas menos expuestas (ej. Argentina / </a:t>
          </a:r>
          <a:r>
            <a:rPr lang="es-CO" sz="1200" noProof="0" dirty="0" smtClean="0"/>
            <a:t>Brasil </a:t>
          </a:r>
          <a:r>
            <a:rPr lang="es-CO" sz="1200" noProof="0" dirty="0" smtClean="0"/>
            <a:t>/ resto de </a:t>
          </a:r>
          <a:r>
            <a:rPr lang="es-CO" sz="1200" noProof="0" dirty="0" err="1" smtClean="0"/>
            <a:t>LatAm</a:t>
          </a:r>
          <a:r>
            <a:rPr lang="es-CO" sz="1200" noProof="0" dirty="0" smtClean="0"/>
            <a:t> ex. Colombia &amp; Chile).</a:t>
          </a:r>
          <a:endParaRPr lang="es-CO" sz="1200" noProof="0" dirty="0"/>
        </a:p>
      </dgm:t>
    </dgm:pt>
    <dgm:pt modelId="{EBE3FFDC-4F62-499D-AD05-DD88CB9E915A}" type="parTrans" cxnId="{4AB7C361-2CF2-496F-A117-B0D858DA3B7A}">
      <dgm:prSet/>
      <dgm:spPr/>
      <dgm:t>
        <a:bodyPr/>
        <a:lstStyle/>
        <a:p>
          <a:endParaRPr lang="en-US" sz="1600"/>
        </a:p>
      </dgm:t>
    </dgm:pt>
    <dgm:pt modelId="{DE7949FA-9F92-4077-A0A7-54AE36D126A4}" type="sibTrans" cxnId="{4AB7C361-2CF2-496F-A117-B0D858DA3B7A}">
      <dgm:prSet/>
      <dgm:spPr/>
      <dgm:t>
        <a:bodyPr/>
        <a:lstStyle/>
        <a:p>
          <a:endParaRPr lang="en-US" sz="1600"/>
        </a:p>
      </dgm:t>
    </dgm:pt>
    <dgm:pt modelId="{F8519129-F818-47C8-BE04-37F37EFB068A}">
      <dgm:prSet phldrT="[Text]" custT="1"/>
      <dgm:spPr/>
      <dgm:t>
        <a:bodyPr/>
        <a:lstStyle/>
        <a:p>
          <a:r>
            <a:rPr lang="es-CO" sz="1200" noProof="0" dirty="0" smtClean="0"/>
            <a:t>Algunas disminuciones en PML mitigaron reducciones de capacitad</a:t>
          </a:r>
          <a:endParaRPr lang="es-CO" sz="1200" noProof="0" dirty="0"/>
        </a:p>
      </dgm:t>
    </dgm:pt>
    <dgm:pt modelId="{E03A89A3-A55B-4BB1-82D5-567C50BE15A9}" type="parTrans" cxnId="{40577361-0618-4C99-A4D2-9836C48B019C}">
      <dgm:prSet/>
      <dgm:spPr/>
      <dgm:t>
        <a:bodyPr/>
        <a:lstStyle/>
        <a:p>
          <a:endParaRPr lang="en-US" sz="1600"/>
        </a:p>
      </dgm:t>
    </dgm:pt>
    <dgm:pt modelId="{7C0C3F2D-B691-48C1-A3C9-369C12EAD684}" type="sibTrans" cxnId="{40577361-0618-4C99-A4D2-9836C48B019C}">
      <dgm:prSet/>
      <dgm:spPr/>
      <dgm:t>
        <a:bodyPr/>
        <a:lstStyle/>
        <a:p>
          <a:endParaRPr lang="en-US" sz="1600"/>
        </a:p>
      </dgm:t>
    </dgm:pt>
    <dgm:pt modelId="{068BC4D0-8293-4ECA-A81B-66E2C2F3D806}">
      <dgm:prSet phldrT="[Text]" custT="1"/>
      <dgm:spPr/>
      <dgm:t>
        <a:bodyPr/>
        <a:lstStyle/>
        <a:p>
          <a:r>
            <a:rPr lang="es-CO" sz="1200" noProof="0" dirty="0" smtClean="0"/>
            <a:t>Términos estables en QS, excepto en programas CAT grandes donde hubo capacidad limitada</a:t>
          </a:r>
          <a:endParaRPr lang="es-CO" sz="1200" noProof="0" dirty="0"/>
        </a:p>
      </dgm:t>
    </dgm:pt>
    <dgm:pt modelId="{BAF2498E-F5F9-4A49-9550-7AA428C90B28}" type="parTrans" cxnId="{35214DC2-7FD3-4DB4-8011-A918D6600E27}">
      <dgm:prSet/>
      <dgm:spPr/>
      <dgm:t>
        <a:bodyPr/>
        <a:lstStyle/>
        <a:p>
          <a:endParaRPr lang="en-US" sz="1600"/>
        </a:p>
      </dgm:t>
    </dgm:pt>
    <dgm:pt modelId="{EC8BE0D1-0F0E-4CA0-A7AF-20F1B1524C91}" type="sibTrans" cxnId="{35214DC2-7FD3-4DB4-8011-A918D6600E27}">
      <dgm:prSet/>
      <dgm:spPr/>
      <dgm:t>
        <a:bodyPr/>
        <a:lstStyle/>
        <a:p>
          <a:endParaRPr lang="en-US" sz="1600"/>
        </a:p>
      </dgm:t>
    </dgm:pt>
    <dgm:pt modelId="{F2C8E264-CFBC-4A9E-9D52-60D1C93509EE}">
      <dgm:prSet phldrT="[Text]" custT="1"/>
      <dgm:spPr/>
      <dgm:t>
        <a:bodyPr/>
        <a:lstStyle/>
        <a:p>
          <a:r>
            <a:rPr lang="es-CO" sz="1200" noProof="0" dirty="0" smtClean="0"/>
            <a:t>Mayor apalancamiento en programas de </a:t>
          </a:r>
          <a:r>
            <a:rPr lang="es-CO" sz="1200" noProof="0" dirty="0" err="1" smtClean="0"/>
            <a:t>Casualty</a:t>
          </a:r>
          <a:r>
            <a:rPr lang="es-CO" sz="1200" noProof="0" dirty="0" smtClean="0"/>
            <a:t> para evitar/minimizar reducciones en Property CAT</a:t>
          </a:r>
          <a:endParaRPr lang="es-CO" sz="1200" noProof="0" dirty="0"/>
        </a:p>
      </dgm:t>
    </dgm:pt>
    <dgm:pt modelId="{8D9FBC5C-A567-446F-9391-A385ADF1DC8B}" type="parTrans" cxnId="{E1DAACBE-7E83-4AA4-831D-D82D8A011C16}">
      <dgm:prSet/>
      <dgm:spPr/>
      <dgm:t>
        <a:bodyPr/>
        <a:lstStyle/>
        <a:p>
          <a:endParaRPr lang="en-US" sz="1600"/>
        </a:p>
      </dgm:t>
    </dgm:pt>
    <dgm:pt modelId="{FCA620C2-BFA7-40C9-A2EF-9E930542B8EE}" type="sibTrans" cxnId="{E1DAACBE-7E83-4AA4-831D-D82D8A011C16}">
      <dgm:prSet/>
      <dgm:spPr/>
      <dgm:t>
        <a:bodyPr/>
        <a:lstStyle/>
        <a:p>
          <a:endParaRPr lang="en-US" sz="1600"/>
        </a:p>
      </dgm:t>
    </dgm:pt>
    <dgm:pt modelId="{EEC5BB64-E5B0-47EB-A6FD-56CA21DBFA80}">
      <dgm:prSet phldrT="[Text]" custT="1"/>
      <dgm:spPr/>
      <dgm:t>
        <a:bodyPr/>
        <a:lstStyle/>
        <a:p>
          <a:r>
            <a:rPr lang="es-CO" sz="1200" noProof="0" dirty="0" smtClean="0"/>
            <a:t>+5 a +10% en XL / territorios con mas exposición CAT (ej. Norte del Caribe)</a:t>
          </a:r>
          <a:endParaRPr lang="es-CO" sz="1200" noProof="0" dirty="0"/>
        </a:p>
      </dgm:t>
    </dgm:pt>
    <dgm:pt modelId="{F4F5E1C3-16FE-4175-896D-D973C77AE425}" type="parTrans" cxnId="{D3796A0D-2339-4CA8-AED9-75793C2C2718}">
      <dgm:prSet/>
      <dgm:spPr/>
      <dgm:t>
        <a:bodyPr/>
        <a:lstStyle/>
        <a:p>
          <a:endParaRPr lang="en-US" sz="1600"/>
        </a:p>
      </dgm:t>
    </dgm:pt>
    <dgm:pt modelId="{12EB2B81-6498-4247-BCBA-60D08A7A7BFE}" type="sibTrans" cxnId="{D3796A0D-2339-4CA8-AED9-75793C2C2718}">
      <dgm:prSet/>
      <dgm:spPr/>
      <dgm:t>
        <a:bodyPr/>
        <a:lstStyle/>
        <a:p>
          <a:endParaRPr lang="en-US" sz="1600"/>
        </a:p>
      </dgm:t>
    </dgm:pt>
    <dgm:pt modelId="{9428A505-1289-4B9D-A8D9-5854253F5651}">
      <dgm:prSet phldrT="[Text]" custT="1"/>
      <dgm:spPr/>
      <dgm:t>
        <a:bodyPr/>
        <a:lstStyle/>
        <a:p>
          <a:r>
            <a:rPr lang="es-CO" sz="1200" noProof="0" dirty="0" smtClean="0">
              <a:latin typeface="+mn-lt"/>
            </a:rPr>
            <a:t>Aumentos en tasas de Florida han creado una comparación poco favorable con los términos del Caribe Norte.</a:t>
          </a:r>
          <a:endParaRPr lang="es-CO" sz="1200" noProof="0" dirty="0"/>
        </a:p>
      </dgm:t>
    </dgm:pt>
    <dgm:pt modelId="{BD1D9308-B634-428A-A140-8071555A46EF}" type="parTrans" cxnId="{DD2D1ECE-6FF0-4B36-9A6A-4308A2F6DCE2}">
      <dgm:prSet/>
      <dgm:spPr/>
      <dgm:t>
        <a:bodyPr/>
        <a:lstStyle/>
        <a:p>
          <a:endParaRPr lang="en-US"/>
        </a:p>
      </dgm:t>
    </dgm:pt>
    <dgm:pt modelId="{4C5FE61C-2B64-4A85-9EF1-9611AE9E9FF6}" type="sibTrans" cxnId="{DD2D1ECE-6FF0-4B36-9A6A-4308A2F6DCE2}">
      <dgm:prSet/>
      <dgm:spPr/>
      <dgm:t>
        <a:bodyPr/>
        <a:lstStyle/>
        <a:p>
          <a:endParaRPr lang="en-US"/>
        </a:p>
      </dgm:t>
    </dgm:pt>
    <dgm:pt modelId="{8961A6E0-2622-4F67-9589-DE9815274DED}" type="pres">
      <dgm:prSet presAssocID="{2CFBB8F7-0AC2-4C44-8CAE-A63E710FEEC6}" presName="layout" presStyleCnt="0">
        <dgm:presLayoutVars>
          <dgm:chMax/>
          <dgm:chPref/>
          <dgm:dir/>
          <dgm:resizeHandles/>
        </dgm:presLayoutVars>
      </dgm:prSet>
      <dgm:spPr/>
      <dgm:t>
        <a:bodyPr/>
        <a:lstStyle/>
        <a:p>
          <a:endParaRPr lang="en-US"/>
        </a:p>
      </dgm:t>
    </dgm:pt>
    <dgm:pt modelId="{9E23EAD5-38EA-490D-8BD2-82D304CB8EED}" type="pres">
      <dgm:prSet presAssocID="{BDD1D67A-DF5A-44ED-B9BB-029A8177B0E8}" presName="root" presStyleCnt="0">
        <dgm:presLayoutVars>
          <dgm:chMax/>
          <dgm:chPref/>
        </dgm:presLayoutVars>
      </dgm:prSet>
      <dgm:spPr/>
    </dgm:pt>
    <dgm:pt modelId="{EF38AFA4-B360-4FDF-9168-CD816683427A}" type="pres">
      <dgm:prSet presAssocID="{BDD1D67A-DF5A-44ED-B9BB-029A8177B0E8}" presName="rootComposite" presStyleCnt="0">
        <dgm:presLayoutVars/>
      </dgm:prSet>
      <dgm:spPr/>
    </dgm:pt>
    <dgm:pt modelId="{BEB71F0D-D466-4F5F-A3A4-6E1FF2841025}" type="pres">
      <dgm:prSet presAssocID="{BDD1D67A-DF5A-44ED-B9BB-029A8177B0E8}" presName="ParentAccent" presStyleLbl="alignNode1" presStyleIdx="0" presStyleCnt="3"/>
      <dgm:spPr/>
      <dgm:t>
        <a:bodyPr/>
        <a:lstStyle/>
        <a:p>
          <a:endParaRPr lang="en-US"/>
        </a:p>
      </dgm:t>
    </dgm:pt>
    <dgm:pt modelId="{D6530803-5CCF-4E5F-B9C2-70A66834B964}" type="pres">
      <dgm:prSet presAssocID="{BDD1D67A-DF5A-44ED-B9BB-029A8177B0E8}" presName="ParentSmallAccent" presStyleLbl="fgAcc1" presStyleIdx="0" presStyleCnt="3" custLinFactX="1000000" custLinFactY="898447" custLinFactNeighborX="1015248" custLinFactNeighborY="900000"/>
      <dgm:spPr>
        <a:noFill/>
        <a:ln>
          <a:noFill/>
        </a:ln>
      </dgm:spPr>
      <dgm:t>
        <a:bodyPr/>
        <a:lstStyle/>
        <a:p>
          <a:endParaRPr lang="es-ES"/>
        </a:p>
      </dgm:t>
    </dgm:pt>
    <dgm:pt modelId="{8D47706E-A337-4A7C-A9D6-111267B491E9}" type="pres">
      <dgm:prSet presAssocID="{BDD1D67A-DF5A-44ED-B9BB-029A8177B0E8}" presName="Parent" presStyleLbl="revTx" presStyleIdx="0" presStyleCnt="19" custLinFactNeighborX="741" custLinFactNeighborY="80587">
        <dgm:presLayoutVars>
          <dgm:chMax/>
          <dgm:chPref val="4"/>
          <dgm:bulletEnabled val="1"/>
        </dgm:presLayoutVars>
      </dgm:prSet>
      <dgm:spPr/>
      <dgm:t>
        <a:bodyPr/>
        <a:lstStyle/>
        <a:p>
          <a:endParaRPr lang="en-US"/>
        </a:p>
      </dgm:t>
    </dgm:pt>
    <dgm:pt modelId="{A4EF1B72-C3E6-4C89-BF1D-05D4EC157E76}" type="pres">
      <dgm:prSet presAssocID="{BDD1D67A-DF5A-44ED-B9BB-029A8177B0E8}" presName="childShape" presStyleCnt="0">
        <dgm:presLayoutVars>
          <dgm:chMax val="0"/>
          <dgm:chPref val="0"/>
        </dgm:presLayoutVars>
      </dgm:prSet>
      <dgm:spPr/>
    </dgm:pt>
    <dgm:pt modelId="{3B482A69-9CA5-40A9-A7F9-63259552878D}" type="pres">
      <dgm:prSet presAssocID="{44F7CA58-55B3-4979-9FD5-97B533A0EB77}" presName="childComposite" presStyleCnt="0">
        <dgm:presLayoutVars>
          <dgm:chMax val="0"/>
          <dgm:chPref val="0"/>
        </dgm:presLayoutVars>
      </dgm:prSet>
      <dgm:spPr/>
    </dgm:pt>
    <dgm:pt modelId="{59F9B1D4-E01A-477F-84F5-14241417AD30}" type="pres">
      <dgm:prSet presAssocID="{44F7CA58-55B3-4979-9FD5-97B533A0EB77}" presName="ChildAccent" presStyleLbl="solidFgAcc1" presStyleIdx="0" presStyleCnt="16"/>
      <dgm:spPr/>
    </dgm:pt>
    <dgm:pt modelId="{4FA8353E-F6AB-4D6A-B562-A24CDA813155}" type="pres">
      <dgm:prSet presAssocID="{44F7CA58-55B3-4979-9FD5-97B533A0EB77}" presName="Child" presStyleLbl="revTx" presStyleIdx="1" presStyleCnt="19">
        <dgm:presLayoutVars>
          <dgm:chMax val="0"/>
          <dgm:chPref val="0"/>
          <dgm:bulletEnabled val="1"/>
        </dgm:presLayoutVars>
      </dgm:prSet>
      <dgm:spPr/>
      <dgm:t>
        <a:bodyPr/>
        <a:lstStyle/>
        <a:p>
          <a:endParaRPr lang="en-US"/>
        </a:p>
      </dgm:t>
    </dgm:pt>
    <dgm:pt modelId="{9E9793B5-4806-4479-A788-95377BA61C8B}" type="pres">
      <dgm:prSet presAssocID="{EEC5BB64-E5B0-47EB-A6FD-56CA21DBFA80}" presName="childComposite" presStyleCnt="0">
        <dgm:presLayoutVars>
          <dgm:chMax val="0"/>
          <dgm:chPref val="0"/>
        </dgm:presLayoutVars>
      </dgm:prSet>
      <dgm:spPr/>
    </dgm:pt>
    <dgm:pt modelId="{0EFC3088-9994-4FED-AB3C-2DC56296C952}" type="pres">
      <dgm:prSet presAssocID="{EEC5BB64-E5B0-47EB-A6FD-56CA21DBFA80}" presName="ChildAccent" presStyleLbl="solidFgAcc1" presStyleIdx="1" presStyleCnt="16"/>
      <dgm:spPr/>
    </dgm:pt>
    <dgm:pt modelId="{62A38FF0-2188-4166-A684-F7A92E0D4278}" type="pres">
      <dgm:prSet presAssocID="{EEC5BB64-E5B0-47EB-A6FD-56CA21DBFA80}" presName="Child" presStyleLbl="revTx" presStyleIdx="2" presStyleCnt="19">
        <dgm:presLayoutVars>
          <dgm:chMax val="0"/>
          <dgm:chPref val="0"/>
          <dgm:bulletEnabled val="1"/>
        </dgm:presLayoutVars>
      </dgm:prSet>
      <dgm:spPr/>
      <dgm:t>
        <a:bodyPr/>
        <a:lstStyle/>
        <a:p>
          <a:endParaRPr lang="en-US"/>
        </a:p>
      </dgm:t>
    </dgm:pt>
    <dgm:pt modelId="{3A78010D-3EE1-413C-9E52-1109C6737278}" type="pres">
      <dgm:prSet presAssocID="{3E4BA794-FADA-4257-92AD-2B6A206B2F6D}" presName="childComposite" presStyleCnt="0">
        <dgm:presLayoutVars>
          <dgm:chMax val="0"/>
          <dgm:chPref val="0"/>
        </dgm:presLayoutVars>
      </dgm:prSet>
      <dgm:spPr/>
    </dgm:pt>
    <dgm:pt modelId="{883B188B-DE85-46C2-91AC-4336360156D1}" type="pres">
      <dgm:prSet presAssocID="{3E4BA794-FADA-4257-92AD-2B6A206B2F6D}" presName="ChildAccent" presStyleLbl="solidFgAcc1" presStyleIdx="2" presStyleCnt="16"/>
      <dgm:spPr/>
    </dgm:pt>
    <dgm:pt modelId="{61D0930D-5229-4D5F-8522-6EF2F8C42109}" type="pres">
      <dgm:prSet presAssocID="{3E4BA794-FADA-4257-92AD-2B6A206B2F6D}" presName="Child" presStyleLbl="revTx" presStyleIdx="3" presStyleCnt="19">
        <dgm:presLayoutVars>
          <dgm:chMax val="0"/>
          <dgm:chPref val="0"/>
          <dgm:bulletEnabled val="1"/>
        </dgm:presLayoutVars>
      </dgm:prSet>
      <dgm:spPr/>
      <dgm:t>
        <a:bodyPr/>
        <a:lstStyle/>
        <a:p>
          <a:endParaRPr lang="en-US"/>
        </a:p>
      </dgm:t>
    </dgm:pt>
    <dgm:pt modelId="{43947E89-220C-4788-B6F4-2D590AE92A73}" type="pres">
      <dgm:prSet presAssocID="{F2C8E264-CFBC-4A9E-9D52-60D1C93509EE}" presName="childComposite" presStyleCnt="0">
        <dgm:presLayoutVars>
          <dgm:chMax val="0"/>
          <dgm:chPref val="0"/>
        </dgm:presLayoutVars>
      </dgm:prSet>
      <dgm:spPr/>
    </dgm:pt>
    <dgm:pt modelId="{6514F2C3-A73B-4D64-9DED-AAD4CE2ACEDB}" type="pres">
      <dgm:prSet presAssocID="{F2C8E264-CFBC-4A9E-9D52-60D1C93509EE}" presName="ChildAccent" presStyleLbl="solidFgAcc1" presStyleIdx="3" presStyleCnt="16"/>
      <dgm:spPr/>
    </dgm:pt>
    <dgm:pt modelId="{C5F70BF9-1C7D-4528-BEEA-CDBD1C804852}" type="pres">
      <dgm:prSet presAssocID="{F2C8E264-CFBC-4A9E-9D52-60D1C93509EE}" presName="Child" presStyleLbl="revTx" presStyleIdx="4" presStyleCnt="19">
        <dgm:presLayoutVars>
          <dgm:chMax val="0"/>
          <dgm:chPref val="0"/>
          <dgm:bulletEnabled val="1"/>
        </dgm:presLayoutVars>
      </dgm:prSet>
      <dgm:spPr/>
      <dgm:t>
        <a:bodyPr/>
        <a:lstStyle/>
        <a:p>
          <a:endParaRPr lang="en-US"/>
        </a:p>
      </dgm:t>
    </dgm:pt>
    <dgm:pt modelId="{C12A8C02-5005-4D3E-98F1-15A196949A1E}" type="pres">
      <dgm:prSet presAssocID="{9428A505-1289-4B9D-A8D9-5854253F5651}" presName="childComposite" presStyleCnt="0">
        <dgm:presLayoutVars>
          <dgm:chMax val="0"/>
          <dgm:chPref val="0"/>
        </dgm:presLayoutVars>
      </dgm:prSet>
      <dgm:spPr/>
    </dgm:pt>
    <dgm:pt modelId="{F2E4E27F-BBED-4095-AED2-631AB101575A}" type="pres">
      <dgm:prSet presAssocID="{9428A505-1289-4B9D-A8D9-5854253F5651}" presName="ChildAccent" presStyleLbl="solidFgAcc1" presStyleIdx="4" presStyleCnt="16"/>
      <dgm:spPr/>
    </dgm:pt>
    <dgm:pt modelId="{980C3ABB-C33D-45BE-8569-05808B15B1A5}" type="pres">
      <dgm:prSet presAssocID="{9428A505-1289-4B9D-A8D9-5854253F5651}" presName="Child" presStyleLbl="revTx" presStyleIdx="5" presStyleCnt="19">
        <dgm:presLayoutVars>
          <dgm:chMax val="0"/>
          <dgm:chPref val="0"/>
          <dgm:bulletEnabled val="1"/>
        </dgm:presLayoutVars>
      </dgm:prSet>
      <dgm:spPr/>
      <dgm:t>
        <a:bodyPr/>
        <a:lstStyle/>
        <a:p>
          <a:endParaRPr lang="en-US"/>
        </a:p>
      </dgm:t>
    </dgm:pt>
    <dgm:pt modelId="{578381E9-FD77-4219-93E4-9436241BF119}" type="pres">
      <dgm:prSet presAssocID="{9C57A1BA-7A0A-4BEF-9E61-ED1B2B2C0809}" presName="childComposite" presStyleCnt="0">
        <dgm:presLayoutVars>
          <dgm:chMax val="0"/>
          <dgm:chPref val="0"/>
        </dgm:presLayoutVars>
      </dgm:prSet>
      <dgm:spPr/>
    </dgm:pt>
    <dgm:pt modelId="{00444969-DE08-4C02-BB9D-FB0ED82A13DC}" type="pres">
      <dgm:prSet presAssocID="{9C57A1BA-7A0A-4BEF-9E61-ED1B2B2C0809}" presName="ChildAccent" presStyleLbl="solidFgAcc1" presStyleIdx="5" presStyleCnt="16" custLinFactNeighborY="-30520"/>
      <dgm:spPr/>
    </dgm:pt>
    <dgm:pt modelId="{3E2FCBC4-BABB-473C-931D-DA44D8879C63}" type="pres">
      <dgm:prSet presAssocID="{9C57A1BA-7A0A-4BEF-9E61-ED1B2B2C0809}" presName="Child" presStyleLbl="revTx" presStyleIdx="6" presStyleCnt="19" custLinFactNeighborY="-11200">
        <dgm:presLayoutVars>
          <dgm:chMax val="0"/>
          <dgm:chPref val="0"/>
          <dgm:bulletEnabled val="1"/>
        </dgm:presLayoutVars>
      </dgm:prSet>
      <dgm:spPr/>
      <dgm:t>
        <a:bodyPr/>
        <a:lstStyle/>
        <a:p>
          <a:endParaRPr lang="en-US"/>
        </a:p>
      </dgm:t>
    </dgm:pt>
    <dgm:pt modelId="{C8CFE8C7-FC83-46C5-AC20-EA052C75B842}" type="pres">
      <dgm:prSet presAssocID="{4AC8AE48-8BC7-4591-9AF7-6BCCFFC356E1}" presName="root" presStyleCnt="0">
        <dgm:presLayoutVars>
          <dgm:chMax/>
          <dgm:chPref/>
        </dgm:presLayoutVars>
      </dgm:prSet>
      <dgm:spPr/>
    </dgm:pt>
    <dgm:pt modelId="{13D04A6F-115A-42ED-8C21-6488EE670555}" type="pres">
      <dgm:prSet presAssocID="{4AC8AE48-8BC7-4591-9AF7-6BCCFFC356E1}" presName="rootComposite" presStyleCnt="0">
        <dgm:presLayoutVars/>
      </dgm:prSet>
      <dgm:spPr/>
    </dgm:pt>
    <dgm:pt modelId="{685E3A6D-7A52-4618-9005-570AD7757635}" type="pres">
      <dgm:prSet presAssocID="{4AC8AE48-8BC7-4591-9AF7-6BCCFFC356E1}" presName="ParentAccent" presStyleLbl="alignNode1" presStyleIdx="1" presStyleCnt="3"/>
      <dgm:spPr/>
    </dgm:pt>
    <dgm:pt modelId="{B2694D4F-DC58-4C63-AB53-C719609B8B6A}" type="pres">
      <dgm:prSet presAssocID="{4AC8AE48-8BC7-4591-9AF7-6BCCFFC356E1}" presName="ParentSmallAccent" presStyleLbl="fgAcc1" presStyleIdx="1" presStyleCnt="3" custLinFactX="139656" custLinFactY="900000" custLinFactNeighborX="200000" custLinFactNeighborY="955617"/>
      <dgm:spPr>
        <a:noFill/>
        <a:ln>
          <a:noFill/>
        </a:ln>
      </dgm:spPr>
      <dgm:t>
        <a:bodyPr/>
        <a:lstStyle/>
        <a:p>
          <a:endParaRPr lang="es-ES"/>
        </a:p>
      </dgm:t>
    </dgm:pt>
    <dgm:pt modelId="{4EA3A5BF-FB02-43EC-BAE3-BBAF6F9861EE}" type="pres">
      <dgm:prSet presAssocID="{4AC8AE48-8BC7-4591-9AF7-6BCCFFC356E1}" presName="Parent" presStyleLbl="revTx" presStyleIdx="7" presStyleCnt="19" custLinFactNeighborX="494" custLinFactNeighborY="79490">
        <dgm:presLayoutVars>
          <dgm:chMax/>
          <dgm:chPref val="4"/>
          <dgm:bulletEnabled val="1"/>
        </dgm:presLayoutVars>
      </dgm:prSet>
      <dgm:spPr/>
      <dgm:t>
        <a:bodyPr/>
        <a:lstStyle/>
        <a:p>
          <a:endParaRPr lang="en-US"/>
        </a:p>
      </dgm:t>
    </dgm:pt>
    <dgm:pt modelId="{893820EB-6093-461F-8F70-36ACFD6476E4}" type="pres">
      <dgm:prSet presAssocID="{4AC8AE48-8BC7-4591-9AF7-6BCCFFC356E1}" presName="childShape" presStyleCnt="0">
        <dgm:presLayoutVars>
          <dgm:chMax val="0"/>
          <dgm:chPref val="0"/>
        </dgm:presLayoutVars>
      </dgm:prSet>
      <dgm:spPr/>
    </dgm:pt>
    <dgm:pt modelId="{F151A811-01B1-4F8B-BA64-8AC36EC8C368}" type="pres">
      <dgm:prSet presAssocID="{54305E32-C77D-41B5-A0E8-C4BD57BF9F72}" presName="childComposite" presStyleCnt="0">
        <dgm:presLayoutVars>
          <dgm:chMax val="0"/>
          <dgm:chPref val="0"/>
        </dgm:presLayoutVars>
      </dgm:prSet>
      <dgm:spPr/>
    </dgm:pt>
    <dgm:pt modelId="{EB6F5961-71CB-4CFE-BF81-C6B9AC9B085C}" type="pres">
      <dgm:prSet presAssocID="{54305E32-C77D-41B5-A0E8-C4BD57BF9F72}" presName="ChildAccent" presStyleLbl="solidFgAcc1" presStyleIdx="6" presStyleCnt="16"/>
      <dgm:spPr/>
    </dgm:pt>
    <dgm:pt modelId="{C3E606E5-C8C1-4F33-AA5A-4CD5534E04FA}" type="pres">
      <dgm:prSet presAssocID="{54305E32-C77D-41B5-A0E8-C4BD57BF9F72}" presName="Child" presStyleLbl="revTx" presStyleIdx="8" presStyleCnt="19">
        <dgm:presLayoutVars>
          <dgm:chMax val="0"/>
          <dgm:chPref val="0"/>
          <dgm:bulletEnabled val="1"/>
        </dgm:presLayoutVars>
      </dgm:prSet>
      <dgm:spPr/>
      <dgm:t>
        <a:bodyPr/>
        <a:lstStyle/>
        <a:p>
          <a:endParaRPr lang="en-US"/>
        </a:p>
      </dgm:t>
    </dgm:pt>
    <dgm:pt modelId="{76523FF0-0FF3-4AF1-9420-0543E5D06965}" type="pres">
      <dgm:prSet presAssocID="{068BC4D0-8293-4ECA-A81B-66E2C2F3D806}" presName="childComposite" presStyleCnt="0">
        <dgm:presLayoutVars>
          <dgm:chMax val="0"/>
          <dgm:chPref val="0"/>
        </dgm:presLayoutVars>
      </dgm:prSet>
      <dgm:spPr/>
    </dgm:pt>
    <dgm:pt modelId="{CEE2F4E3-CC8C-4F5E-9959-C97B19522CC7}" type="pres">
      <dgm:prSet presAssocID="{068BC4D0-8293-4ECA-A81B-66E2C2F3D806}" presName="ChildAccent" presStyleLbl="solidFgAcc1" presStyleIdx="7" presStyleCnt="16"/>
      <dgm:spPr/>
    </dgm:pt>
    <dgm:pt modelId="{5EC00A54-67A0-4C06-9A0A-7F4630544F5C}" type="pres">
      <dgm:prSet presAssocID="{068BC4D0-8293-4ECA-A81B-66E2C2F3D806}" presName="Child" presStyleLbl="revTx" presStyleIdx="9" presStyleCnt="19">
        <dgm:presLayoutVars>
          <dgm:chMax val="0"/>
          <dgm:chPref val="0"/>
          <dgm:bulletEnabled val="1"/>
        </dgm:presLayoutVars>
      </dgm:prSet>
      <dgm:spPr/>
      <dgm:t>
        <a:bodyPr/>
        <a:lstStyle/>
        <a:p>
          <a:endParaRPr lang="en-US"/>
        </a:p>
      </dgm:t>
    </dgm:pt>
    <dgm:pt modelId="{56FAA838-646D-47C6-90AE-C56E1E55486E}" type="pres">
      <dgm:prSet presAssocID="{78D456C5-7EC4-495B-9ABB-C5EF98983877}" presName="childComposite" presStyleCnt="0">
        <dgm:presLayoutVars>
          <dgm:chMax val="0"/>
          <dgm:chPref val="0"/>
        </dgm:presLayoutVars>
      </dgm:prSet>
      <dgm:spPr/>
    </dgm:pt>
    <dgm:pt modelId="{AFFDB9C5-22F2-4CB5-B634-33D540419F9C}" type="pres">
      <dgm:prSet presAssocID="{78D456C5-7EC4-495B-9ABB-C5EF98983877}" presName="ChildAccent" presStyleLbl="solidFgAcc1" presStyleIdx="8" presStyleCnt="16" custLinFactNeighborY="-3815"/>
      <dgm:spPr/>
    </dgm:pt>
    <dgm:pt modelId="{17D8C35D-11FC-4582-9728-9D0B5D009568}" type="pres">
      <dgm:prSet presAssocID="{78D456C5-7EC4-495B-9ABB-C5EF98983877}" presName="Child" presStyleLbl="revTx" presStyleIdx="10" presStyleCnt="19">
        <dgm:presLayoutVars>
          <dgm:chMax val="0"/>
          <dgm:chPref val="0"/>
          <dgm:bulletEnabled val="1"/>
        </dgm:presLayoutVars>
      </dgm:prSet>
      <dgm:spPr/>
      <dgm:t>
        <a:bodyPr/>
        <a:lstStyle/>
        <a:p>
          <a:endParaRPr lang="en-US"/>
        </a:p>
      </dgm:t>
    </dgm:pt>
    <dgm:pt modelId="{8E84970B-2D3D-4254-B00B-746FFB44BF97}" type="pres">
      <dgm:prSet presAssocID="{C32BE94C-3630-4D8B-B815-2DA9AF76E876}" presName="childComposite" presStyleCnt="0">
        <dgm:presLayoutVars>
          <dgm:chMax val="0"/>
          <dgm:chPref val="0"/>
        </dgm:presLayoutVars>
      </dgm:prSet>
      <dgm:spPr/>
    </dgm:pt>
    <dgm:pt modelId="{AFF9B6C0-26BD-4AA6-AFF4-7853146B1F32}" type="pres">
      <dgm:prSet presAssocID="{C32BE94C-3630-4D8B-B815-2DA9AF76E876}" presName="ChildAccent" presStyleLbl="solidFgAcc1" presStyleIdx="9" presStyleCnt="16"/>
      <dgm:spPr/>
    </dgm:pt>
    <dgm:pt modelId="{4569B9E0-291F-498D-BB8A-3EF664E74851}" type="pres">
      <dgm:prSet presAssocID="{C32BE94C-3630-4D8B-B815-2DA9AF76E876}" presName="Child" presStyleLbl="revTx" presStyleIdx="11" presStyleCnt="19">
        <dgm:presLayoutVars>
          <dgm:chMax val="0"/>
          <dgm:chPref val="0"/>
          <dgm:bulletEnabled val="1"/>
        </dgm:presLayoutVars>
      </dgm:prSet>
      <dgm:spPr/>
      <dgm:t>
        <a:bodyPr/>
        <a:lstStyle/>
        <a:p>
          <a:endParaRPr lang="en-US"/>
        </a:p>
      </dgm:t>
    </dgm:pt>
    <dgm:pt modelId="{F06D1F32-E280-46FD-8866-6E4A03413AB3}" type="pres">
      <dgm:prSet presAssocID="{F8519129-F818-47C8-BE04-37F37EFB068A}" presName="childComposite" presStyleCnt="0">
        <dgm:presLayoutVars>
          <dgm:chMax val="0"/>
          <dgm:chPref val="0"/>
        </dgm:presLayoutVars>
      </dgm:prSet>
      <dgm:spPr/>
    </dgm:pt>
    <dgm:pt modelId="{13ABD742-623B-4B5E-929C-34A7DFF7B1EC}" type="pres">
      <dgm:prSet presAssocID="{F8519129-F818-47C8-BE04-37F37EFB068A}" presName="ChildAccent" presStyleLbl="solidFgAcc1" presStyleIdx="10" presStyleCnt="16"/>
      <dgm:spPr/>
    </dgm:pt>
    <dgm:pt modelId="{DC6898E3-CFCC-4256-8A03-EB6C17BDDEF3}" type="pres">
      <dgm:prSet presAssocID="{F8519129-F818-47C8-BE04-37F37EFB068A}" presName="Child" presStyleLbl="revTx" presStyleIdx="12" presStyleCnt="19">
        <dgm:presLayoutVars>
          <dgm:chMax val="0"/>
          <dgm:chPref val="0"/>
          <dgm:bulletEnabled val="1"/>
        </dgm:presLayoutVars>
      </dgm:prSet>
      <dgm:spPr/>
      <dgm:t>
        <a:bodyPr/>
        <a:lstStyle/>
        <a:p>
          <a:endParaRPr lang="en-US"/>
        </a:p>
      </dgm:t>
    </dgm:pt>
    <dgm:pt modelId="{115DF365-1F1F-4ECD-B1D7-76903DA4460B}" type="pres">
      <dgm:prSet presAssocID="{BCE118BE-782F-4A26-85C2-47CC2F455053}" presName="root" presStyleCnt="0">
        <dgm:presLayoutVars>
          <dgm:chMax/>
          <dgm:chPref/>
        </dgm:presLayoutVars>
      </dgm:prSet>
      <dgm:spPr/>
    </dgm:pt>
    <dgm:pt modelId="{60C72C00-E213-4B76-AC6D-99A28AE84D6D}" type="pres">
      <dgm:prSet presAssocID="{BCE118BE-782F-4A26-85C2-47CC2F455053}" presName="rootComposite" presStyleCnt="0">
        <dgm:presLayoutVars/>
      </dgm:prSet>
      <dgm:spPr/>
    </dgm:pt>
    <dgm:pt modelId="{5886F596-25F0-404C-8869-9D607E0D11FF}" type="pres">
      <dgm:prSet presAssocID="{BCE118BE-782F-4A26-85C2-47CC2F455053}" presName="ParentAccent" presStyleLbl="alignNode1" presStyleIdx="2" presStyleCnt="3"/>
      <dgm:spPr/>
    </dgm:pt>
    <dgm:pt modelId="{279D15B8-B579-4E60-8DD6-2960C2236819}" type="pres">
      <dgm:prSet presAssocID="{BCE118BE-782F-4A26-85C2-47CC2F455053}" presName="ParentSmallAccent" presStyleLbl="fgAcc1" presStyleIdx="2" presStyleCnt="3" custLinFactX="-468524" custLinFactY="900000" custLinFactNeighborX="-500000" custLinFactNeighborY="905617"/>
      <dgm:spPr>
        <a:noFill/>
        <a:ln>
          <a:noFill/>
        </a:ln>
      </dgm:spPr>
      <dgm:t>
        <a:bodyPr/>
        <a:lstStyle/>
        <a:p>
          <a:endParaRPr lang="es-ES"/>
        </a:p>
      </dgm:t>
    </dgm:pt>
    <dgm:pt modelId="{0FC3F5E3-E879-4B81-A70B-DB6A935F460B}" type="pres">
      <dgm:prSet presAssocID="{BCE118BE-782F-4A26-85C2-47CC2F455053}" presName="Parent" presStyleLbl="revTx" presStyleIdx="13" presStyleCnt="19" custLinFactNeighborX="293" custLinFactNeighborY="78320">
        <dgm:presLayoutVars>
          <dgm:chMax/>
          <dgm:chPref val="4"/>
          <dgm:bulletEnabled val="1"/>
        </dgm:presLayoutVars>
      </dgm:prSet>
      <dgm:spPr/>
      <dgm:t>
        <a:bodyPr/>
        <a:lstStyle/>
        <a:p>
          <a:endParaRPr lang="en-US"/>
        </a:p>
      </dgm:t>
    </dgm:pt>
    <dgm:pt modelId="{87033717-22F2-415A-821D-85E675DC115F}" type="pres">
      <dgm:prSet presAssocID="{BCE118BE-782F-4A26-85C2-47CC2F455053}" presName="childShape" presStyleCnt="0">
        <dgm:presLayoutVars>
          <dgm:chMax val="0"/>
          <dgm:chPref val="0"/>
        </dgm:presLayoutVars>
      </dgm:prSet>
      <dgm:spPr/>
    </dgm:pt>
    <dgm:pt modelId="{A8D77853-07C0-4A46-A1AA-4A01E1BCA7D2}" type="pres">
      <dgm:prSet presAssocID="{2F54F646-FAC1-4E4E-A570-285E070AB3E0}" presName="childComposite" presStyleCnt="0">
        <dgm:presLayoutVars>
          <dgm:chMax val="0"/>
          <dgm:chPref val="0"/>
        </dgm:presLayoutVars>
      </dgm:prSet>
      <dgm:spPr/>
    </dgm:pt>
    <dgm:pt modelId="{748C6263-F9AA-44AC-973A-23F139ADBF7C}" type="pres">
      <dgm:prSet presAssocID="{2F54F646-FAC1-4E4E-A570-285E070AB3E0}" presName="ChildAccent" presStyleLbl="solidFgAcc1" presStyleIdx="11" presStyleCnt="16"/>
      <dgm:spPr/>
    </dgm:pt>
    <dgm:pt modelId="{ADAF18E2-78D9-4BE7-8D64-5FA4090934D9}" type="pres">
      <dgm:prSet presAssocID="{2F54F646-FAC1-4E4E-A570-285E070AB3E0}" presName="Child" presStyleLbl="revTx" presStyleIdx="14" presStyleCnt="19">
        <dgm:presLayoutVars>
          <dgm:chMax val="0"/>
          <dgm:chPref val="0"/>
          <dgm:bulletEnabled val="1"/>
        </dgm:presLayoutVars>
      </dgm:prSet>
      <dgm:spPr/>
      <dgm:t>
        <a:bodyPr/>
        <a:lstStyle/>
        <a:p>
          <a:endParaRPr lang="en-US"/>
        </a:p>
      </dgm:t>
    </dgm:pt>
    <dgm:pt modelId="{5083F65C-602D-4A33-A1B5-D0067F23F744}" type="pres">
      <dgm:prSet presAssocID="{D87D9EB8-0258-4EF7-8FD2-B5C39863F4AD}" presName="childComposite" presStyleCnt="0">
        <dgm:presLayoutVars>
          <dgm:chMax val="0"/>
          <dgm:chPref val="0"/>
        </dgm:presLayoutVars>
      </dgm:prSet>
      <dgm:spPr/>
    </dgm:pt>
    <dgm:pt modelId="{27F45FFA-7EED-4023-BDC0-56CB6E8BF726}" type="pres">
      <dgm:prSet presAssocID="{D87D9EB8-0258-4EF7-8FD2-B5C39863F4AD}" presName="ChildAccent" presStyleLbl="solidFgAcc1" presStyleIdx="12" presStyleCnt="16"/>
      <dgm:spPr/>
    </dgm:pt>
    <dgm:pt modelId="{E199A72F-0DE9-472F-A976-75EE29FA6FE4}" type="pres">
      <dgm:prSet presAssocID="{D87D9EB8-0258-4EF7-8FD2-B5C39863F4AD}" presName="Child" presStyleLbl="revTx" presStyleIdx="15" presStyleCnt="19">
        <dgm:presLayoutVars>
          <dgm:chMax val="0"/>
          <dgm:chPref val="0"/>
          <dgm:bulletEnabled val="1"/>
        </dgm:presLayoutVars>
      </dgm:prSet>
      <dgm:spPr/>
      <dgm:t>
        <a:bodyPr/>
        <a:lstStyle/>
        <a:p>
          <a:endParaRPr lang="en-US"/>
        </a:p>
      </dgm:t>
    </dgm:pt>
    <dgm:pt modelId="{C7B6510A-81CE-42AF-9386-523AD9793D8D}" type="pres">
      <dgm:prSet presAssocID="{9FCE8364-3132-4668-ABAF-108BCC000A2E}" presName="childComposite" presStyleCnt="0">
        <dgm:presLayoutVars>
          <dgm:chMax val="0"/>
          <dgm:chPref val="0"/>
        </dgm:presLayoutVars>
      </dgm:prSet>
      <dgm:spPr/>
    </dgm:pt>
    <dgm:pt modelId="{7B49402C-779B-4766-9CEC-179B4133597F}" type="pres">
      <dgm:prSet presAssocID="{9FCE8364-3132-4668-ABAF-108BCC000A2E}" presName="ChildAccent" presStyleLbl="solidFgAcc1" presStyleIdx="13" presStyleCnt="16"/>
      <dgm:spPr/>
    </dgm:pt>
    <dgm:pt modelId="{43D7B322-6225-4A67-BB20-513C9F167847}" type="pres">
      <dgm:prSet presAssocID="{9FCE8364-3132-4668-ABAF-108BCC000A2E}" presName="Child" presStyleLbl="revTx" presStyleIdx="16" presStyleCnt="19">
        <dgm:presLayoutVars>
          <dgm:chMax val="0"/>
          <dgm:chPref val="0"/>
          <dgm:bulletEnabled val="1"/>
        </dgm:presLayoutVars>
      </dgm:prSet>
      <dgm:spPr/>
      <dgm:t>
        <a:bodyPr/>
        <a:lstStyle/>
        <a:p>
          <a:endParaRPr lang="en-US"/>
        </a:p>
      </dgm:t>
    </dgm:pt>
    <dgm:pt modelId="{B39DEC2A-0B71-4780-A7D5-43ADC0567526}" type="pres">
      <dgm:prSet presAssocID="{7BADD6BF-E313-49D3-A02D-879D5108B75E}" presName="childComposite" presStyleCnt="0">
        <dgm:presLayoutVars>
          <dgm:chMax val="0"/>
          <dgm:chPref val="0"/>
        </dgm:presLayoutVars>
      </dgm:prSet>
      <dgm:spPr/>
    </dgm:pt>
    <dgm:pt modelId="{BAF73500-9D08-48BC-A3D7-BE5DCF7DA2A4}" type="pres">
      <dgm:prSet presAssocID="{7BADD6BF-E313-49D3-A02D-879D5108B75E}" presName="ChildAccent" presStyleLbl="solidFgAcc1" presStyleIdx="14" presStyleCnt="16" custLinFactNeighborY="-30520"/>
      <dgm:spPr/>
    </dgm:pt>
    <dgm:pt modelId="{3C17699E-F4C2-4CF9-8BC7-44E56FF97279}" type="pres">
      <dgm:prSet presAssocID="{7BADD6BF-E313-49D3-A02D-879D5108B75E}" presName="Child" presStyleLbl="revTx" presStyleIdx="17" presStyleCnt="19">
        <dgm:presLayoutVars>
          <dgm:chMax val="0"/>
          <dgm:chPref val="0"/>
          <dgm:bulletEnabled val="1"/>
        </dgm:presLayoutVars>
      </dgm:prSet>
      <dgm:spPr/>
      <dgm:t>
        <a:bodyPr/>
        <a:lstStyle/>
        <a:p>
          <a:endParaRPr lang="en-US"/>
        </a:p>
      </dgm:t>
    </dgm:pt>
    <dgm:pt modelId="{91F3A77A-7296-4AB1-B81C-B2505DF939BC}" type="pres">
      <dgm:prSet presAssocID="{0EF46A7D-89ED-49EE-8194-9CC1B9910765}" presName="childComposite" presStyleCnt="0">
        <dgm:presLayoutVars>
          <dgm:chMax val="0"/>
          <dgm:chPref val="0"/>
        </dgm:presLayoutVars>
      </dgm:prSet>
      <dgm:spPr/>
    </dgm:pt>
    <dgm:pt modelId="{971B17E0-1A29-4D57-80A8-E628B7D8B60C}" type="pres">
      <dgm:prSet presAssocID="{0EF46A7D-89ED-49EE-8194-9CC1B9910765}" presName="ChildAccent" presStyleLbl="solidFgAcc1" presStyleIdx="15" presStyleCnt="16" custLinFactNeighborY="-30520"/>
      <dgm:spPr/>
    </dgm:pt>
    <dgm:pt modelId="{6ACB2A30-3C3C-4733-89CA-B3DE99EBBE6E}" type="pres">
      <dgm:prSet presAssocID="{0EF46A7D-89ED-49EE-8194-9CC1B9910765}" presName="Child" presStyleLbl="revTx" presStyleIdx="18" presStyleCnt="19">
        <dgm:presLayoutVars>
          <dgm:chMax val="0"/>
          <dgm:chPref val="0"/>
          <dgm:bulletEnabled val="1"/>
        </dgm:presLayoutVars>
      </dgm:prSet>
      <dgm:spPr/>
      <dgm:t>
        <a:bodyPr/>
        <a:lstStyle/>
        <a:p>
          <a:endParaRPr lang="en-US"/>
        </a:p>
      </dgm:t>
    </dgm:pt>
  </dgm:ptLst>
  <dgm:cxnLst>
    <dgm:cxn modelId="{D3A05791-A92A-41BF-8D47-1341FF9FC7E8}" srcId="{BCE118BE-782F-4A26-85C2-47CC2F455053}" destId="{9FCE8364-3132-4668-ABAF-108BCC000A2E}" srcOrd="2" destOrd="0" parTransId="{5836509A-5B7A-48A8-AE78-41AC1D8968FB}" sibTransId="{7C571CD5-EC91-434F-B0DC-20FD6E41EE74}"/>
    <dgm:cxn modelId="{45BBED76-3B3B-4867-B793-D00C2F788F1C}" srcId="{4AC8AE48-8BC7-4591-9AF7-6BCCFFC356E1}" destId="{54305E32-C77D-41B5-A0E8-C4BD57BF9F72}" srcOrd="0" destOrd="0" parTransId="{832B48DC-59B8-4EB0-A699-75AEC0F5325D}" sibTransId="{2EBDC817-2FC3-4466-A88B-D0047EF0E146}"/>
    <dgm:cxn modelId="{D5A0BB6F-D221-48DA-BF2C-609D7A61D012}" type="presOf" srcId="{54305E32-C77D-41B5-A0E8-C4BD57BF9F72}" destId="{C3E606E5-C8C1-4F33-AA5A-4CD5534E04FA}" srcOrd="0" destOrd="0" presId="urn:microsoft.com/office/officeart/2008/layout/SquareAccentList"/>
    <dgm:cxn modelId="{DD2D1ECE-6FF0-4B36-9A6A-4308A2F6DCE2}" srcId="{BDD1D67A-DF5A-44ED-B9BB-029A8177B0E8}" destId="{9428A505-1289-4B9D-A8D9-5854253F5651}" srcOrd="4" destOrd="0" parTransId="{BD1D9308-B634-428A-A140-8071555A46EF}" sibTransId="{4C5FE61C-2B64-4A85-9EF1-9611AE9E9FF6}"/>
    <dgm:cxn modelId="{FF3CFCEC-158A-4BD7-894C-B9F4F89AD787}" type="presOf" srcId="{068BC4D0-8293-4ECA-A81B-66E2C2F3D806}" destId="{5EC00A54-67A0-4C06-9A0A-7F4630544F5C}" srcOrd="0" destOrd="0" presId="urn:microsoft.com/office/officeart/2008/layout/SquareAccentList"/>
    <dgm:cxn modelId="{5550DEF0-9D77-4EA6-BAC3-04F2566A82D8}" type="presOf" srcId="{7BADD6BF-E313-49D3-A02D-879D5108B75E}" destId="{3C17699E-F4C2-4CF9-8BC7-44E56FF97279}" srcOrd="0" destOrd="0" presId="urn:microsoft.com/office/officeart/2008/layout/SquareAccentList"/>
    <dgm:cxn modelId="{AC6C6FD9-2506-4AC6-A3ED-E583487511E6}" type="presOf" srcId="{BDD1D67A-DF5A-44ED-B9BB-029A8177B0E8}" destId="{8D47706E-A337-4A7C-A9D6-111267B491E9}" srcOrd="0" destOrd="0" presId="urn:microsoft.com/office/officeart/2008/layout/SquareAccentList"/>
    <dgm:cxn modelId="{9D476024-D2EB-4E01-8EBB-B18CD3B6E09E}" type="presOf" srcId="{F2C8E264-CFBC-4A9E-9D52-60D1C93509EE}" destId="{C5F70BF9-1C7D-4528-BEEA-CDBD1C804852}" srcOrd="0" destOrd="0" presId="urn:microsoft.com/office/officeart/2008/layout/SquareAccentList"/>
    <dgm:cxn modelId="{AA2AA976-D7D1-404F-B954-91CF5D11ED74}" type="presOf" srcId="{D87D9EB8-0258-4EF7-8FD2-B5C39863F4AD}" destId="{E199A72F-0DE9-472F-A976-75EE29FA6FE4}" srcOrd="0" destOrd="0" presId="urn:microsoft.com/office/officeart/2008/layout/SquareAccentList"/>
    <dgm:cxn modelId="{B9ADD8E5-BB47-4CC5-8646-4CC5C8D74461}" type="presOf" srcId="{9C57A1BA-7A0A-4BEF-9E61-ED1B2B2C0809}" destId="{3E2FCBC4-BABB-473C-931D-DA44D8879C63}" srcOrd="0" destOrd="0" presId="urn:microsoft.com/office/officeart/2008/layout/SquareAccentList"/>
    <dgm:cxn modelId="{7B2A5C6E-C4B6-4320-89FB-62A5BB2D92EC}" type="presOf" srcId="{2F54F646-FAC1-4E4E-A570-285E070AB3E0}" destId="{ADAF18E2-78D9-4BE7-8D64-5FA4090934D9}" srcOrd="0" destOrd="0" presId="urn:microsoft.com/office/officeart/2008/layout/SquareAccentList"/>
    <dgm:cxn modelId="{F58E0230-D0B1-4D88-91EB-944BBB5754A3}" srcId="{BCE118BE-782F-4A26-85C2-47CC2F455053}" destId="{7BADD6BF-E313-49D3-A02D-879D5108B75E}" srcOrd="3" destOrd="0" parTransId="{CF147366-E48E-48D9-8C12-D1CF6AA563DF}" sibTransId="{A899A7D9-7B08-4F9E-91E7-1AA6B13A1E7C}"/>
    <dgm:cxn modelId="{22714EC5-7EBE-4C78-B2AE-E8F0C2EF7212}" type="presOf" srcId="{44F7CA58-55B3-4979-9FD5-97B533A0EB77}" destId="{4FA8353E-F6AB-4D6A-B562-A24CDA813155}" srcOrd="0" destOrd="0" presId="urn:microsoft.com/office/officeart/2008/layout/SquareAccentList"/>
    <dgm:cxn modelId="{3DA29BF0-59A9-4C19-8EE5-2DE428760C76}" srcId="{BCE118BE-782F-4A26-85C2-47CC2F455053}" destId="{D87D9EB8-0258-4EF7-8FD2-B5C39863F4AD}" srcOrd="1" destOrd="0" parTransId="{40E99D5E-73B2-4B9D-9EB4-FEC1C020BA26}" sibTransId="{207FB897-52F9-43AB-BAC6-ED7C677D01E1}"/>
    <dgm:cxn modelId="{A88BD153-C874-42B3-8FA4-38E8EB6BAE68}" srcId="{BDD1D67A-DF5A-44ED-B9BB-029A8177B0E8}" destId="{9C57A1BA-7A0A-4BEF-9E61-ED1B2B2C0809}" srcOrd="5" destOrd="0" parTransId="{DBBCF386-01A2-4E55-8EBC-BE3350C3102A}" sibTransId="{654C7D75-F8E1-4D2E-A4FA-E6896036ECA7}"/>
    <dgm:cxn modelId="{6DF9DB1E-2974-4B16-B27E-C346F5A719A1}" type="presOf" srcId="{C32BE94C-3630-4D8B-B815-2DA9AF76E876}" destId="{4569B9E0-291F-498D-BB8A-3EF664E74851}" srcOrd="0" destOrd="0" presId="urn:microsoft.com/office/officeart/2008/layout/SquareAccentList"/>
    <dgm:cxn modelId="{23C750DE-7BA0-4488-99FE-FA5E2F934241}" srcId="{2CFBB8F7-0AC2-4C44-8CAE-A63E710FEEC6}" destId="{4AC8AE48-8BC7-4591-9AF7-6BCCFFC356E1}" srcOrd="1" destOrd="0" parTransId="{8B07E9C7-52DE-40FE-9F42-174E8BC26B4B}" sibTransId="{656A3F9E-058F-4F20-A049-084ACBF2EE96}"/>
    <dgm:cxn modelId="{92145342-D26C-4169-A8D7-78D2843ACE45}" srcId="{2CFBB8F7-0AC2-4C44-8CAE-A63E710FEEC6}" destId="{BDD1D67A-DF5A-44ED-B9BB-029A8177B0E8}" srcOrd="0" destOrd="0" parTransId="{6422CE19-7FC5-4C4E-8507-F9B8D7180500}" sibTransId="{DAF876B2-A3D9-427D-8E18-FDA07CD1DDF1}"/>
    <dgm:cxn modelId="{E4DCC971-45F4-4620-9FCD-E7B33762FDE5}" type="presOf" srcId="{0EF46A7D-89ED-49EE-8194-9CC1B9910765}" destId="{6ACB2A30-3C3C-4733-89CA-B3DE99EBBE6E}" srcOrd="0" destOrd="0" presId="urn:microsoft.com/office/officeart/2008/layout/SquareAccentList"/>
    <dgm:cxn modelId="{2E72F602-EEE3-4072-BAE4-0A934D663525}" type="presOf" srcId="{EEC5BB64-E5B0-47EB-A6FD-56CA21DBFA80}" destId="{62A38FF0-2188-4166-A684-F7A92E0D4278}" srcOrd="0" destOrd="0" presId="urn:microsoft.com/office/officeart/2008/layout/SquareAccentList"/>
    <dgm:cxn modelId="{4AB7C361-2CF2-496F-A117-B0D858DA3B7A}" srcId="{4AC8AE48-8BC7-4591-9AF7-6BCCFFC356E1}" destId="{C32BE94C-3630-4D8B-B815-2DA9AF76E876}" srcOrd="3" destOrd="0" parTransId="{EBE3FFDC-4F62-499D-AD05-DD88CB9E915A}" sibTransId="{DE7949FA-9F92-4077-A0A7-54AE36D126A4}"/>
    <dgm:cxn modelId="{05D9C0BD-E6C6-4518-BAA3-9919C95B271D}" type="presOf" srcId="{9FCE8364-3132-4668-ABAF-108BCC000A2E}" destId="{43D7B322-6225-4A67-BB20-513C9F167847}" srcOrd="0" destOrd="0" presId="urn:microsoft.com/office/officeart/2008/layout/SquareAccentList"/>
    <dgm:cxn modelId="{ED6209DB-3884-4799-B3B7-226603C03DB3}" type="presOf" srcId="{78D456C5-7EC4-495B-9ABB-C5EF98983877}" destId="{17D8C35D-11FC-4582-9728-9D0B5D009568}" srcOrd="0" destOrd="0" presId="urn:microsoft.com/office/officeart/2008/layout/SquareAccentList"/>
    <dgm:cxn modelId="{FEAFD03F-10B0-4E2D-8C93-E70C99FEF550}" type="presOf" srcId="{4AC8AE48-8BC7-4591-9AF7-6BCCFFC356E1}" destId="{4EA3A5BF-FB02-43EC-BAE3-BBAF6F9861EE}" srcOrd="0" destOrd="0" presId="urn:microsoft.com/office/officeart/2008/layout/SquareAccentList"/>
    <dgm:cxn modelId="{ADC31B64-F234-43E8-91D7-B8981C6B84D2}" type="presOf" srcId="{3E4BA794-FADA-4257-92AD-2B6A206B2F6D}" destId="{61D0930D-5229-4D5F-8522-6EF2F8C42109}" srcOrd="0" destOrd="0" presId="urn:microsoft.com/office/officeart/2008/layout/SquareAccentList"/>
    <dgm:cxn modelId="{EC348E02-F426-4644-A639-FE7F94796424}" type="presOf" srcId="{2CFBB8F7-0AC2-4C44-8CAE-A63E710FEEC6}" destId="{8961A6E0-2622-4F67-9589-DE9815274DED}" srcOrd="0" destOrd="0" presId="urn:microsoft.com/office/officeart/2008/layout/SquareAccentList"/>
    <dgm:cxn modelId="{4F1A8D3D-54CA-4753-9BD7-A4492BBC41D0}" type="presOf" srcId="{BCE118BE-782F-4A26-85C2-47CC2F455053}" destId="{0FC3F5E3-E879-4B81-A70B-DB6A935F460B}" srcOrd="0" destOrd="0" presId="urn:microsoft.com/office/officeart/2008/layout/SquareAccentList"/>
    <dgm:cxn modelId="{E1DAACBE-7E83-4AA4-831D-D82D8A011C16}" srcId="{BDD1D67A-DF5A-44ED-B9BB-029A8177B0E8}" destId="{F2C8E264-CFBC-4A9E-9D52-60D1C93509EE}" srcOrd="3" destOrd="0" parTransId="{8D9FBC5C-A567-446F-9391-A385ADF1DC8B}" sibTransId="{FCA620C2-BFA7-40C9-A2EF-9E930542B8EE}"/>
    <dgm:cxn modelId="{5F63AEC8-17CA-4FAA-9B76-367A1C7221D4}" type="presOf" srcId="{F8519129-F818-47C8-BE04-37F37EFB068A}" destId="{DC6898E3-CFCC-4256-8A03-EB6C17BDDEF3}" srcOrd="0" destOrd="0" presId="urn:microsoft.com/office/officeart/2008/layout/SquareAccentList"/>
    <dgm:cxn modelId="{8B4D25FF-0249-4786-B91E-592729CDA921}" srcId="{BDD1D67A-DF5A-44ED-B9BB-029A8177B0E8}" destId="{3E4BA794-FADA-4257-92AD-2B6A206B2F6D}" srcOrd="2" destOrd="0" parTransId="{529CF61C-7A82-48B9-A0EF-0B995FA18531}" sibTransId="{16F849D8-CBF6-42B8-940F-9DE6B7C63149}"/>
    <dgm:cxn modelId="{40577361-0618-4C99-A4D2-9836C48B019C}" srcId="{4AC8AE48-8BC7-4591-9AF7-6BCCFFC356E1}" destId="{F8519129-F818-47C8-BE04-37F37EFB068A}" srcOrd="4" destOrd="0" parTransId="{E03A89A3-A55B-4BB1-82D5-567C50BE15A9}" sibTransId="{7C0C3F2D-B691-48C1-A3C9-369C12EAD684}"/>
    <dgm:cxn modelId="{D3796A0D-2339-4CA8-AED9-75793C2C2718}" srcId="{BDD1D67A-DF5A-44ED-B9BB-029A8177B0E8}" destId="{EEC5BB64-E5B0-47EB-A6FD-56CA21DBFA80}" srcOrd="1" destOrd="0" parTransId="{F4F5E1C3-16FE-4175-896D-D973C77AE425}" sibTransId="{12EB2B81-6498-4247-BCBA-60D08A7A7BFE}"/>
    <dgm:cxn modelId="{CF9E54DD-576E-40B6-8962-DD9ECBA2BDD8}" srcId="{BDD1D67A-DF5A-44ED-B9BB-029A8177B0E8}" destId="{44F7CA58-55B3-4979-9FD5-97B533A0EB77}" srcOrd="0" destOrd="0" parTransId="{585320C2-8152-42C5-9DA8-71D39E3F8F52}" sibTransId="{09B08F4C-A721-413D-B8BA-14566E17A477}"/>
    <dgm:cxn modelId="{57B6F899-AE34-4073-A15F-A97DFBBB4790}" type="presOf" srcId="{9428A505-1289-4B9D-A8D9-5854253F5651}" destId="{980C3ABB-C33D-45BE-8569-05808B15B1A5}" srcOrd="0" destOrd="0" presId="urn:microsoft.com/office/officeart/2008/layout/SquareAccentList"/>
    <dgm:cxn modelId="{59FE2211-2F88-4D36-A1FA-0031F65C7E6D}" srcId="{4AC8AE48-8BC7-4591-9AF7-6BCCFFC356E1}" destId="{78D456C5-7EC4-495B-9ABB-C5EF98983877}" srcOrd="2" destOrd="0" parTransId="{CD731CB4-1302-412C-B9B5-F9FC754E5BF2}" sibTransId="{612D82AE-17FD-4C20-AFA1-44557A7FE39B}"/>
    <dgm:cxn modelId="{8CC5F491-9454-4CC1-901F-807FC397E567}" srcId="{BCE118BE-782F-4A26-85C2-47CC2F455053}" destId="{2F54F646-FAC1-4E4E-A570-285E070AB3E0}" srcOrd="0" destOrd="0" parTransId="{23BC94E0-5C7C-4461-9D11-56C1C998E038}" sibTransId="{6F116D1D-B2CF-4E35-B77D-63EA462DDCE4}"/>
    <dgm:cxn modelId="{54B6A500-2818-4497-8AA3-1A4B3E904F2F}" srcId="{2CFBB8F7-0AC2-4C44-8CAE-A63E710FEEC6}" destId="{BCE118BE-782F-4A26-85C2-47CC2F455053}" srcOrd="2" destOrd="0" parTransId="{F4325F86-AF3F-4CAD-8BBC-0BDB0289D6F5}" sibTransId="{E229F954-7C2D-4F9D-9DCE-0238ABE74102}"/>
    <dgm:cxn modelId="{CAC59BF9-63B1-4BA4-B905-1AD4A421525A}" srcId="{BCE118BE-782F-4A26-85C2-47CC2F455053}" destId="{0EF46A7D-89ED-49EE-8194-9CC1B9910765}" srcOrd="4" destOrd="0" parTransId="{C88E7CF3-089E-45D1-9E30-026B6B43C1ED}" sibTransId="{C5C8E90B-1730-484C-807A-0158F8715772}"/>
    <dgm:cxn modelId="{35214DC2-7FD3-4DB4-8011-A918D6600E27}" srcId="{4AC8AE48-8BC7-4591-9AF7-6BCCFFC356E1}" destId="{068BC4D0-8293-4ECA-A81B-66E2C2F3D806}" srcOrd="1" destOrd="0" parTransId="{BAF2498E-F5F9-4A49-9550-7AA428C90B28}" sibTransId="{EC8BE0D1-0F0E-4CA0-A7AF-20F1B1524C91}"/>
    <dgm:cxn modelId="{45EB635F-6AE7-48F5-BF90-13FCE28B17D8}" type="presParOf" srcId="{8961A6E0-2622-4F67-9589-DE9815274DED}" destId="{9E23EAD5-38EA-490D-8BD2-82D304CB8EED}" srcOrd="0" destOrd="0" presId="urn:microsoft.com/office/officeart/2008/layout/SquareAccentList"/>
    <dgm:cxn modelId="{3596BA7A-565A-47C6-BB26-939306CF5259}" type="presParOf" srcId="{9E23EAD5-38EA-490D-8BD2-82D304CB8EED}" destId="{EF38AFA4-B360-4FDF-9168-CD816683427A}" srcOrd="0" destOrd="0" presId="urn:microsoft.com/office/officeart/2008/layout/SquareAccentList"/>
    <dgm:cxn modelId="{CB3DDE1E-DE9C-45F6-8FCA-CC756DB3054A}" type="presParOf" srcId="{EF38AFA4-B360-4FDF-9168-CD816683427A}" destId="{BEB71F0D-D466-4F5F-A3A4-6E1FF2841025}" srcOrd="0" destOrd="0" presId="urn:microsoft.com/office/officeart/2008/layout/SquareAccentList"/>
    <dgm:cxn modelId="{980278A6-5BBE-40BA-9B88-7F6273099F8C}" type="presParOf" srcId="{EF38AFA4-B360-4FDF-9168-CD816683427A}" destId="{D6530803-5CCF-4E5F-B9C2-70A66834B964}" srcOrd="1" destOrd="0" presId="urn:microsoft.com/office/officeart/2008/layout/SquareAccentList"/>
    <dgm:cxn modelId="{674125A8-F6D2-4E15-BFB9-5C83D297ED38}" type="presParOf" srcId="{EF38AFA4-B360-4FDF-9168-CD816683427A}" destId="{8D47706E-A337-4A7C-A9D6-111267B491E9}" srcOrd="2" destOrd="0" presId="urn:microsoft.com/office/officeart/2008/layout/SquareAccentList"/>
    <dgm:cxn modelId="{E9CB8A6B-B1E8-4480-BD84-A90999BC8F09}" type="presParOf" srcId="{9E23EAD5-38EA-490D-8BD2-82D304CB8EED}" destId="{A4EF1B72-C3E6-4C89-BF1D-05D4EC157E76}" srcOrd="1" destOrd="0" presId="urn:microsoft.com/office/officeart/2008/layout/SquareAccentList"/>
    <dgm:cxn modelId="{F6F2F3C4-BF8F-403D-9881-52DB32BE9F27}" type="presParOf" srcId="{A4EF1B72-C3E6-4C89-BF1D-05D4EC157E76}" destId="{3B482A69-9CA5-40A9-A7F9-63259552878D}" srcOrd="0" destOrd="0" presId="urn:microsoft.com/office/officeart/2008/layout/SquareAccentList"/>
    <dgm:cxn modelId="{E0D389DE-0F3B-4026-BB0D-B100DA61C765}" type="presParOf" srcId="{3B482A69-9CA5-40A9-A7F9-63259552878D}" destId="{59F9B1D4-E01A-477F-84F5-14241417AD30}" srcOrd="0" destOrd="0" presId="urn:microsoft.com/office/officeart/2008/layout/SquareAccentList"/>
    <dgm:cxn modelId="{2F55345F-EFCA-4CD5-8116-D9B67D77AE30}" type="presParOf" srcId="{3B482A69-9CA5-40A9-A7F9-63259552878D}" destId="{4FA8353E-F6AB-4D6A-B562-A24CDA813155}" srcOrd="1" destOrd="0" presId="urn:microsoft.com/office/officeart/2008/layout/SquareAccentList"/>
    <dgm:cxn modelId="{DF7D0053-CB54-4722-8D86-D10A147DF0FC}" type="presParOf" srcId="{A4EF1B72-C3E6-4C89-BF1D-05D4EC157E76}" destId="{9E9793B5-4806-4479-A788-95377BA61C8B}" srcOrd="1" destOrd="0" presId="urn:microsoft.com/office/officeart/2008/layout/SquareAccentList"/>
    <dgm:cxn modelId="{65F16DFD-3258-4552-84DF-1547A97D65F7}" type="presParOf" srcId="{9E9793B5-4806-4479-A788-95377BA61C8B}" destId="{0EFC3088-9994-4FED-AB3C-2DC56296C952}" srcOrd="0" destOrd="0" presId="urn:microsoft.com/office/officeart/2008/layout/SquareAccentList"/>
    <dgm:cxn modelId="{5D8F6774-BA10-48FC-A78A-DD2D1F70D2C3}" type="presParOf" srcId="{9E9793B5-4806-4479-A788-95377BA61C8B}" destId="{62A38FF0-2188-4166-A684-F7A92E0D4278}" srcOrd="1" destOrd="0" presId="urn:microsoft.com/office/officeart/2008/layout/SquareAccentList"/>
    <dgm:cxn modelId="{36BF75F0-D2B4-4A2A-B76B-FE2DFB09E286}" type="presParOf" srcId="{A4EF1B72-C3E6-4C89-BF1D-05D4EC157E76}" destId="{3A78010D-3EE1-413C-9E52-1109C6737278}" srcOrd="2" destOrd="0" presId="urn:microsoft.com/office/officeart/2008/layout/SquareAccentList"/>
    <dgm:cxn modelId="{A1F95FFB-D2C2-44A3-8C8F-F3C3CCE2C0CD}" type="presParOf" srcId="{3A78010D-3EE1-413C-9E52-1109C6737278}" destId="{883B188B-DE85-46C2-91AC-4336360156D1}" srcOrd="0" destOrd="0" presId="urn:microsoft.com/office/officeart/2008/layout/SquareAccentList"/>
    <dgm:cxn modelId="{C9F235DA-FEB3-4E17-8DFE-856B1767E921}" type="presParOf" srcId="{3A78010D-3EE1-413C-9E52-1109C6737278}" destId="{61D0930D-5229-4D5F-8522-6EF2F8C42109}" srcOrd="1" destOrd="0" presId="urn:microsoft.com/office/officeart/2008/layout/SquareAccentList"/>
    <dgm:cxn modelId="{A1531FAD-75CE-4F90-A210-DC72B30F9F8D}" type="presParOf" srcId="{A4EF1B72-C3E6-4C89-BF1D-05D4EC157E76}" destId="{43947E89-220C-4788-B6F4-2D590AE92A73}" srcOrd="3" destOrd="0" presId="urn:microsoft.com/office/officeart/2008/layout/SquareAccentList"/>
    <dgm:cxn modelId="{3C4727F0-F1C0-44DF-8274-5F7FB89E75A5}" type="presParOf" srcId="{43947E89-220C-4788-B6F4-2D590AE92A73}" destId="{6514F2C3-A73B-4D64-9DED-AAD4CE2ACEDB}" srcOrd="0" destOrd="0" presId="urn:microsoft.com/office/officeart/2008/layout/SquareAccentList"/>
    <dgm:cxn modelId="{A0AE96BB-CEE2-4044-BE41-19CF27131409}" type="presParOf" srcId="{43947E89-220C-4788-B6F4-2D590AE92A73}" destId="{C5F70BF9-1C7D-4528-BEEA-CDBD1C804852}" srcOrd="1" destOrd="0" presId="urn:microsoft.com/office/officeart/2008/layout/SquareAccentList"/>
    <dgm:cxn modelId="{FABC61A4-0DC1-4005-B142-B6039F87C1AE}" type="presParOf" srcId="{A4EF1B72-C3E6-4C89-BF1D-05D4EC157E76}" destId="{C12A8C02-5005-4D3E-98F1-15A196949A1E}" srcOrd="4" destOrd="0" presId="urn:microsoft.com/office/officeart/2008/layout/SquareAccentList"/>
    <dgm:cxn modelId="{241AF2E1-4EC7-4A3E-9AAF-01FDE89D67A7}" type="presParOf" srcId="{C12A8C02-5005-4D3E-98F1-15A196949A1E}" destId="{F2E4E27F-BBED-4095-AED2-631AB101575A}" srcOrd="0" destOrd="0" presId="urn:microsoft.com/office/officeart/2008/layout/SquareAccentList"/>
    <dgm:cxn modelId="{466206BF-9A11-465C-A2CC-7C947F12EBA0}" type="presParOf" srcId="{C12A8C02-5005-4D3E-98F1-15A196949A1E}" destId="{980C3ABB-C33D-45BE-8569-05808B15B1A5}" srcOrd="1" destOrd="0" presId="urn:microsoft.com/office/officeart/2008/layout/SquareAccentList"/>
    <dgm:cxn modelId="{5DABC31C-52E2-4B0C-B5EE-4A16428B100E}" type="presParOf" srcId="{A4EF1B72-C3E6-4C89-BF1D-05D4EC157E76}" destId="{578381E9-FD77-4219-93E4-9436241BF119}" srcOrd="5" destOrd="0" presId="urn:microsoft.com/office/officeart/2008/layout/SquareAccentList"/>
    <dgm:cxn modelId="{4459A909-46B9-4C2E-A209-C1912655C56C}" type="presParOf" srcId="{578381E9-FD77-4219-93E4-9436241BF119}" destId="{00444969-DE08-4C02-BB9D-FB0ED82A13DC}" srcOrd="0" destOrd="0" presId="urn:microsoft.com/office/officeart/2008/layout/SquareAccentList"/>
    <dgm:cxn modelId="{1A93D6EA-48B5-4A6D-85F7-853A2FBB0A0E}" type="presParOf" srcId="{578381E9-FD77-4219-93E4-9436241BF119}" destId="{3E2FCBC4-BABB-473C-931D-DA44D8879C63}" srcOrd="1" destOrd="0" presId="urn:microsoft.com/office/officeart/2008/layout/SquareAccentList"/>
    <dgm:cxn modelId="{1537165E-F17F-41A7-8439-B35CC1434F66}" type="presParOf" srcId="{8961A6E0-2622-4F67-9589-DE9815274DED}" destId="{C8CFE8C7-FC83-46C5-AC20-EA052C75B842}" srcOrd="1" destOrd="0" presId="urn:microsoft.com/office/officeart/2008/layout/SquareAccentList"/>
    <dgm:cxn modelId="{43661B4F-3529-4F11-AD4D-BDFE69997532}" type="presParOf" srcId="{C8CFE8C7-FC83-46C5-AC20-EA052C75B842}" destId="{13D04A6F-115A-42ED-8C21-6488EE670555}" srcOrd="0" destOrd="0" presId="urn:microsoft.com/office/officeart/2008/layout/SquareAccentList"/>
    <dgm:cxn modelId="{43263611-66A1-4E84-B3B5-F5F0EBE4DCF9}" type="presParOf" srcId="{13D04A6F-115A-42ED-8C21-6488EE670555}" destId="{685E3A6D-7A52-4618-9005-570AD7757635}" srcOrd="0" destOrd="0" presId="urn:microsoft.com/office/officeart/2008/layout/SquareAccentList"/>
    <dgm:cxn modelId="{7B340224-6CE9-419A-85BB-1397032B64FE}" type="presParOf" srcId="{13D04A6F-115A-42ED-8C21-6488EE670555}" destId="{B2694D4F-DC58-4C63-AB53-C719609B8B6A}" srcOrd="1" destOrd="0" presId="urn:microsoft.com/office/officeart/2008/layout/SquareAccentList"/>
    <dgm:cxn modelId="{E2514724-6491-498E-BBF9-9E759F715A68}" type="presParOf" srcId="{13D04A6F-115A-42ED-8C21-6488EE670555}" destId="{4EA3A5BF-FB02-43EC-BAE3-BBAF6F9861EE}" srcOrd="2" destOrd="0" presId="urn:microsoft.com/office/officeart/2008/layout/SquareAccentList"/>
    <dgm:cxn modelId="{AD713DC9-3577-40E1-8AFD-30B1AE79DB7B}" type="presParOf" srcId="{C8CFE8C7-FC83-46C5-AC20-EA052C75B842}" destId="{893820EB-6093-461F-8F70-36ACFD6476E4}" srcOrd="1" destOrd="0" presId="urn:microsoft.com/office/officeart/2008/layout/SquareAccentList"/>
    <dgm:cxn modelId="{1F45CA2E-3147-44D0-864A-4B20B61EACA7}" type="presParOf" srcId="{893820EB-6093-461F-8F70-36ACFD6476E4}" destId="{F151A811-01B1-4F8B-BA64-8AC36EC8C368}" srcOrd="0" destOrd="0" presId="urn:microsoft.com/office/officeart/2008/layout/SquareAccentList"/>
    <dgm:cxn modelId="{ECECA3C6-BBDE-4CCA-8EB1-5670A05DB133}" type="presParOf" srcId="{F151A811-01B1-4F8B-BA64-8AC36EC8C368}" destId="{EB6F5961-71CB-4CFE-BF81-C6B9AC9B085C}" srcOrd="0" destOrd="0" presId="urn:microsoft.com/office/officeart/2008/layout/SquareAccentList"/>
    <dgm:cxn modelId="{191224B0-13BE-4591-A784-26F119AD2975}" type="presParOf" srcId="{F151A811-01B1-4F8B-BA64-8AC36EC8C368}" destId="{C3E606E5-C8C1-4F33-AA5A-4CD5534E04FA}" srcOrd="1" destOrd="0" presId="urn:microsoft.com/office/officeart/2008/layout/SquareAccentList"/>
    <dgm:cxn modelId="{475D5746-FF9C-4C91-B350-A4E35CF3130F}" type="presParOf" srcId="{893820EB-6093-461F-8F70-36ACFD6476E4}" destId="{76523FF0-0FF3-4AF1-9420-0543E5D06965}" srcOrd="1" destOrd="0" presId="urn:microsoft.com/office/officeart/2008/layout/SquareAccentList"/>
    <dgm:cxn modelId="{8E40A6F3-DB36-456D-BB48-1AE7A5BDFAAD}" type="presParOf" srcId="{76523FF0-0FF3-4AF1-9420-0543E5D06965}" destId="{CEE2F4E3-CC8C-4F5E-9959-C97B19522CC7}" srcOrd="0" destOrd="0" presId="urn:microsoft.com/office/officeart/2008/layout/SquareAccentList"/>
    <dgm:cxn modelId="{6EC4E454-1E81-4D4D-A2ED-AEEA7741D1FB}" type="presParOf" srcId="{76523FF0-0FF3-4AF1-9420-0543E5D06965}" destId="{5EC00A54-67A0-4C06-9A0A-7F4630544F5C}" srcOrd="1" destOrd="0" presId="urn:microsoft.com/office/officeart/2008/layout/SquareAccentList"/>
    <dgm:cxn modelId="{B44E36A5-AC22-495F-B52A-D822DE0C1645}" type="presParOf" srcId="{893820EB-6093-461F-8F70-36ACFD6476E4}" destId="{56FAA838-646D-47C6-90AE-C56E1E55486E}" srcOrd="2" destOrd="0" presId="urn:microsoft.com/office/officeart/2008/layout/SquareAccentList"/>
    <dgm:cxn modelId="{0C0C4584-D614-4F8B-A959-9B240D8B1E85}" type="presParOf" srcId="{56FAA838-646D-47C6-90AE-C56E1E55486E}" destId="{AFFDB9C5-22F2-4CB5-B634-33D540419F9C}" srcOrd="0" destOrd="0" presId="urn:microsoft.com/office/officeart/2008/layout/SquareAccentList"/>
    <dgm:cxn modelId="{5571599A-FE52-4533-B8EB-CED8D2E44CF7}" type="presParOf" srcId="{56FAA838-646D-47C6-90AE-C56E1E55486E}" destId="{17D8C35D-11FC-4582-9728-9D0B5D009568}" srcOrd="1" destOrd="0" presId="urn:microsoft.com/office/officeart/2008/layout/SquareAccentList"/>
    <dgm:cxn modelId="{8A41EFA4-77E6-49F8-B10B-35425083FE8A}" type="presParOf" srcId="{893820EB-6093-461F-8F70-36ACFD6476E4}" destId="{8E84970B-2D3D-4254-B00B-746FFB44BF97}" srcOrd="3" destOrd="0" presId="urn:microsoft.com/office/officeart/2008/layout/SquareAccentList"/>
    <dgm:cxn modelId="{0A84519D-025C-4617-A3D5-6D22D70F55BA}" type="presParOf" srcId="{8E84970B-2D3D-4254-B00B-746FFB44BF97}" destId="{AFF9B6C0-26BD-4AA6-AFF4-7853146B1F32}" srcOrd="0" destOrd="0" presId="urn:microsoft.com/office/officeart/2008/layout/SquareAccentList"/>
    <dgm:cxn modelId="{CBCD32E1-3E4A-4F23-BE3E-FA5084B6772B}" type="presParOf" srcId="{8E84970B-2D3D-4254-B00B-746FFB44BF97}" destId="{4569B9E0-291F-498D-BB8A-3EF664E74851}" srcOrd="1" destOrd="0" presId="urn:microsoft.com/office/officeart/2008/layout/SquareAccentList"/>
    <dgm:cxn modelId="{D86C8744-08A8-4C0B-9B37-73EC2A7C62E0}" type="presParOf" srcId="{893820EB-6093-461F-8F70-36ACFD6476E4}" destId="{F06D1F32-E280-46FD-8866-6E4A03413AB3}" srcOrd="4" destOrd="0" presId="urn:microsoft.com/office/officeart/2008/layout/SquareAccentList"/>
    <dgm:cxn modelId="{94B8C903-805A-43D0-94BF-DAFD1A77461B}" type="presParOf" srcId="{F06D1F32-E280-46FD-8866-6E4A03413AB3}" destId="{13ABD742-623B-4B5E-929C-34A7DFF7B1EC}" srcOrd="0" destOrd="0" presId="urn:microsoft.com/office/officeart/2008/layout/SquareAccentList"/>
    <dgm:cxn modelId="{A35639EE-1983-4C23-83B4-98B8D3B30981}" type="presParOf" srcId="{F06D1F32-E280-46FD-8866-6E4A03413AB3}" destId="{DC6898E3-CFCC-4256-8A03-EB6C17BDDEF3}" srcOrd="1" destOrd="0" presId="urn:microsoft.com/office/officeart/2008/layout/SquareAccentList"/>
    <dgm:cxn modelId="{BCDFB0A1-E939-418D-8C77-02C7BBA08853}" type="presParOf" srcId="{8961A6E0-2622-4F67-9589-DE9815274DED}" destId="{115DF365-1F1F-4ECD-B1D7-76903DA4460B}" srcOrd="2" destOrd="0" presId="urn:microsoft.com/office/officeart/2008/layout/SquareAccentList"/>
    <dgm:cxn modelId="{5AC94382-0F28-4D9A-9A15-9993887C07A4}" type="presParOf" srcId="{115DF365-1F1F-4ECD-B1D7-76903DA4460B}" destId="{60C72C00-E213-4B76-AC6D-99A28AE84D6D}" srcOrd="0" destOrd="0" presId="urn:microsoft.com/office/officeart/2008/layout/SquareAccentList"/>
    <dgm:cxn modelId="{C34EEAE1-1F15-49A4-A0C5-8475ECFA8472}" type="presParOf" srcId="{60C72C00-E213-4B76-AC6D-99A28AE84D6D}" destId="{5886F596-25F0-404C-8869-9D607E0D11FF}" srcOrd="0" destOrd="0" presId="urn:microsoft.com/office/officeart/2008/layout/SquareAccentList"/>
    <dgm:cxn modelId="{B4B8A787-9C80-44AB-BE9D-76FC84683230}" type="presParOf" srcId="{60C72C00-E213-4B76-AC6D-99A28AE84D6D}" destId="{279D15B8-B579-4E60-8DD6-2960C2236819}" srcOrd="1" destOrd="0" presId="urn:microsoft.com/office/officeart/2008/layout/SquareAccentList"/>
    <dgm:cxn modelId="{48498C6D-487A-4422-B076-498DCBDEAE42}" type="presParOf" srcId="{60C72C00-E213-4B76-AC6D-99A28AE84D6D}" destId="{0FC3F5E3-E879-4B81-A70B-DB6A935F460B}" srcOrd="2" destOrd="0" presId="urn:microsoft.com/office/officeart/2008/layout/SquareAccentList"/>
    <dgm:cxn modelId="{5FD42D29-5F67-42BA-B7A5-B7802C2134C2}" type="presParOf" srcId="{115DF365-1F1F-4ECD-B1D7-76903DA4460B}" destId="{87033717-22F2-415A-821D-85E675DC115F}" srcOrd="1" destOrd="0" presId="urn:microsoft.com/office/officeart/2008/layout/SquareAccentList"/>
    <dgm:cxn modelId="{05043042-C04E-487D-8455-302C45381E35}" type="presParOf" srcId="{87033717-22F2-415A-821D-85E675DC115F}" destId="{A8D77853-07C0-4A46-A1AA-4A01E1BCA7D2}" srcOrd="0" destOrd="0" presId="urn:microsoft.com/office/officeart/2008/layout/SquareAccentList"/>
    <dgm:cxn modelId="{753040A4-EFDC-4B88-9244-EFE3E1F62031}" type="presParOf" srcId="{A8D77853-07C0-4A46-A1AA-4A01E1BCA7D2}" destId="{748C6263-F9AA-44AC-973A-23F139ADBF7C}" srcOrd="0" destOrd="0" presId="urn:microsoft.com/office/officeart/2008/layout/SquareAccentList"/>
    <dgm:cxn modelId="{7DD38221-4217-4962-AEA2-59DB7B7ED8F6}" type="presParOf" srcId="{A8D77853-07C0-4A46-A1AA-4A01E1BCA7D2}" destId="{ADAF18E2-78D9-4BE7-8D64-5FA4090934D9}" srcOrd="1" destOrd="0" presId="urn:microsoft.com/office/officeart/2008/layout/SquareAccentList"/>
    <dgm:cxn modelId="{49F68CDB-70D3-4D2C-8C12-9C048B576D15}" type="presParOf" srcId="{87033717-22F2-415A-821D-85E675DC115F}" destId="{5083F65C-602D-4A33-A1B5-D0067F23F744}" srcOrd="1" destOrd="0" presId="urn:microsoft.com/office/officeart/2008/layout/SquareAccentList"/>
    <dgm:cxn modelId="{EE46A5DF-ECCD-4506-BF24-2CB54B54AA0E}" type="presParOf" srcId="{5083F65C-602D-4A33-A1B5-D0067F23F744}" destId="{27F45FFA-7EED-4023-BDC0-56CB6E8BF726}" srcOrd="0" destOrd="0" presId="urn:microsoft.com/office/officeart/2008/layout/SquareAccentList"/>
    <dgm:cxn modelId="{D6B41B81-159D-4736-9409-09F75F484252}" type="presParOf" srcId="{5083F65C-602D-4A33-A1B5-D0067F23F744}" destId="{E199A72F-0DE9-472F-A976-75EE29FA6FE4}" srcOrd="1" destOrd="0" presId="urn:microsoft.com/office/officeart/2008/layout/SquareAccentList"/>
    <dgm:cxn modelId="{DC2A0715-18E1-44B5-8863-BF8FC9C79DA9}" type="presParOf" srcId="{87033717-22F2-415A-821D-85E675DC115F}" destId="{C7B6510A-81CE-42AF-9386-523AD9793D8D}" srcOrd="2" destOrd="0" presId="urn:microsoft.com/office/officeart/2008/layout/SquareAccentList"/>
    <dgm:cxn modelId="{DD9694D5-3830-43CF-994A-9C0F14DD4A1C}" type="presParOf" srcId="{C7B6510A-81CE-42AF-9386-523AD9793D8D}" destId="{7B49402C-779B-4766-9CEC-179B4133597F}" srcOrd="0" destOrd="0" presId="urn:microsoft.com/office/officeart/2008/layout/SquareAccentList"/>
    <dgm:cxn modelId="{429FCF75-8138-4BF2-9214-B6622B140F78}" type="presParOf" srcId="{C7B6510A-81CE-42AF-9386-523AD9793D8D}" destId="{43D7B322-6225-4A67-BB20-513C9F167847}" srcOrd="1" destOrd="0" presId="urn:microsoft.com/office/officeart/2008/layout/SquareAccentList"/>
    <dgm:cxn modelId="{D4A3AA61-E698-4A37-8E67-747DCCE21AB7}" type="presParOf" srcId="{87033717-22F2-415A-821D-85E675DC115F}" destId="{B39DEC2A-0B71-4780-A7D5-43ADC0567526}" srcOrd="3" destOrd="0" presId="urn:microsoft.com/office/officeart/2008/layout/SquareAccentList"/>
    <dgm:cxn modelId="{1E005F71-2611-4E95-989F-D6C6F6BBA565}" type="presParOf" srcId="{B39DEC2A-0B71-4780-A7D5-43ADC0567526}" destId="{BAF73500-9D08-48BC-A3D7-BE5DCF7DA2A4}" srcOrd="0" destOrd="0" presId="urn:microsoft.com/office/officeart/2008/layout/SquareAccentList"/>
    <dgm:cxn modelId="{7CE127D1-06CA-48E4-9341-6E65DB941850}" type="presParOf" srcId="{B39DEC2A-0B71-4780-A7D5-43ADC0567526}" destId="{3C17699E-F4C2-4CF9-8BC7-44E56FF97279}" srcOrd="1" destOrd="0" presId="urn:microsoft.com/office/officeart/2008/layout/SquareAccentList"/>
    <dgm:cxn modelId="{3AF7EC5C-D0D1-4631-8160-3E5D0D73DDB9}" type="presParOf" srcId="{87033717-22F2-415A-821D-85E675DC115F}" destId="{91F3A77A-7296-4AB1-B81C-B2505DF939BC}" srcOrd="4" destOrd="0" presId="urn:microsoft.com/office/officeart/2008/layout/SquareAccentList"/>
    <dgm:cxn modelId="{364558EC-FD96-41A3-B95F-B6E2F848D94E}" type="presParOf" srcId="{91F3A77A-7296-4AB1-B81C-B2505DF939BC}" destId="{971B17E0-1A29-4D57-80A8-E628B7D8B60C}" srcOrd="0" destOrd="0" presId="urn:microsoft.com/office/officeart/2008/layout/SquareAccentList"/>
    <dgm:cxn modelId="{967B50C7-5222-4529-99B7-7B4396DC84D4}" type="presParOf" srcId="{91F3A77A-7296-4AB1-B81C-B2505DF939BC}" destId="{6ACB2A30-3C3C-4733-89CA-B3DE99EBBE6E}" srcOrd="1" destOrd="0" presId="urn:microsoft.com/office/officeart/2008/layout/SquareAccent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6FDDC66-6C4F-4ACA-AAF7-4F5F636C4134}" type="doc">
      <dgm:prSet loTypeId="urn:microsoft.com/office/officeart/2005/8/layout/cycle4" loCatId="matrix" qsTypeId="urn:microsoft.com/office/officeart/2005/8/quickstyle/simple1" qsCatId="simple" csTypeId="urn:microsoft.com/office/officeart/2005/8/colors/accent1_2" csCatId="accent1" phldr="1"/>
      <dgm:spPr/>
      <dgm:t>
        <a:bodyPr/>
        <a:lstStyle/>
        <a:p>
          <a:endParaRPr lang="en-US"/>
        </a:p>
      </dgm:t>
    </dgm:pt>
    <dgm:pt modelId="{3937A9D5-9318-4BB9-9ED4-1E8627C6FCC9}">
      <dgm:prSet phldrT="[Text]"/>
      <dgm:spPr/>
      <dgm:t>
        <a:bodyPr/>
        <a:lstStyle/>
        <a:p>
          <a:r>
            <a:rPr lang="es-CO" noProof="0" dirty="0" err="1" smtClean="0"/>
            <a:t>Timing</a:t>
          </a:r>
          <a:r>
            <a:rPr lang="es-CO" noProof="0" dirty="0" smtClean="0"/>
            <a:t> de Renovación</a:t>
          </a:r>
          <a:endParaRPr lang="es-CO" noProof="0" dirty="0"/>
        </a:p>
      </dgm:t>
    </dgm:pt>
    <dgm:pt modelId="{D242C5F9-B109-4328-AAE6-D99A4A2FF6E7}" type="parTrans" cxnId="{5E9187BF-4890-4B7A-B917-A197614FF04F}">
      <dgm:prSet/>
      <dgm:spPr/>
      <dgm:t>
        <a:bodyPr/>
        <a:lstStyle/>
        <a:p>
          <a:endParaRPr lang="en-US"/>
        </a:p>
      </dgm:t>
    </dgm:pt>
    <dgm:pt modelId="{75298995-C254-40D9-A0C6-A8FC371B64BA}" type="sibTrans" cxnId="{5E9187BF-4890-4B7A-B917-A197614FF04F}">
      <dgm:prSet/>
      <dgm:spPr/>
      <dgm:t>
        <a:bodyPr/>
        <a:lstStyle/>
        <a:p>
          <a:endParaRPr lang="en-US"/>
        </a:p>
      </dgm:t>
    </dgm:pt>
    <dgm:pt modelId="{701CA873-6A48-4C15-9A0D-0FEAF639182D}">
      <dgm:prSet phldrT="[Text]"/>
      <dgm:spPr/>
      <dgm:t>
        <a:bodyPr/>
        <a:lstStyle/>
        <a:p>
          <a:r>
            <a:rPr lang="es-CO" noProof="0" dirty="0" smtClean="0"/>
            <a:t>Legislación de Paraísos Fiscales EU</a:t>
          </a:r>
          <a:endParaRPr lang="es-CO" noProof="0" dirty="0"/>
        </a:p>
      </dgm:t>
    </dgm:pt>
    <dgm:pt modelId="{7425DCDE-C1E3-42E9-B8A7-A2C6CF3E8CE9}" type="parTrans" cxnId="{C4B7A0BB-B9C4-4E28-AF40-2915FC809433}">
      <dgm:prSet/>
      <dgm:spPr/>
      <dgm:t>
        <a:bodyPr/>
        <a:lstStyle/>
        <a:p>
          <a:endParaRPr lang="en-US"/>
        </a:p>
      </dgm:t>
    </dgm:pt>
    <dgm:pt modelId="{A2425922-5BF5-4605-BBF3-C6B0DCE2A9CB}" type="sibTrans" cxnId="{C4B7A0BB-B9C4-4E28-AF40-2915FC809433}">
      <dgm:prSet/>
      <dgm:spPr/>
      <dgm:t>
        <a:bodyPr/>
        <a:lstStyle/>
        <a:p>
          <a:endParaRPr lang="en-US"/>
        </a:p>
      </dgm:t>
    </dgm:pt>
    <dgm:pt modelId="{4DEDE849-B01A-4B45-9336-547309E46A97}">
      <dgm:prSet phldrT="[Text]"/>
      <dgm:spPr/>
      <dgm:t>
        <a:bodyPr/>
        <a:lstStyle/>
        <a:p>
          <a:r>
            <a:rPr lang="es-CO" noProof="0" dirty="0" smtClean="0"/>
            <a:t>ESG en el horizonte</a:t>
          </a:r>
          <a:endParaRPr lang="es-CO" noProof="0" dirty="0"/>
        </a:p>
      </dgm:t>
    </dgm:pt>
    <dgm:pt modelId="{ECD45337-AF81-4104-8D64-D32D9578C7CC}" type="parTrans" cxnId="{F807EB37-A65D-4222-8A79-3D0F8C9CED36}">
      <dgm:prSet/>
      <dgm:spPr/>
      <dgm:t>
        <a:bodyPr/>
        <a:lstStyle/>
        <a:p>
          <a:endParaRPr lang="en-US"/>
        </a:p>
      </dgm:t>
    </dgm:pt>
    <dgm:pt modelId="{9F680A65-9212-4203-B87F-472C9C49C632}" type="sibTrans" cxnId="{F807EB37-A65D-4222-8A79-3D0F8C9CED36}">
      <dgm:prSet/>
      <dgm:spPr/>
      <dgm:t>
        <a:bodyPr/>
        <a:lstStyle/>
        <a:p>
          <a:endParaRPr lang="en-US"/>
        </a:p>
      </dgm:t>
    </dgm:pt>
    <dgm:pt modelId="{526789B5-EC31-4709-BA8C-0DB3267DF95D}">
      <dgm:prSet phldrT="[Text]"/>
      <dgm:spPr/>
      <dgm:t>
        <a:bodyPr/>
        <a:lstStyle/>
        <a:p>
          <a:r>
            <a:rPr lang="es-CO" noProof="0" dirty="0" smtClean="0"/>
            <a:t>Tendencias de Regulación</a:t>
          </a:r>
          <a:endParaRPr lang="es-CO" noProof="0" dirty="0"/>
        </a:p>
      </dgm:t>
    </dgm:pt>
    <dgm:pt modelId="{CBDFC180-F51D-4B9B-B21A-225FB11C4645}" type="parTrans" cxnId="{CE35FE45-20EE-47AB-8B77-A702FE729487}">
      <dgm:prSet/>
      <dgm:spPr/>
      <dgm:t>
        <a:bodyPr/>
        <a:lstStyle/>
        <a:p>
          <a:endParaRPr lang="en-US"/>
        </a:p>
      </dgm:t>
    </dgm:pt>
    <dgm:pt modelId="{F0D25B83-9793-4A1D-9B84-879006597848}" type="sibTrans" cxnId="{CE35FE45-20EE-47AB-8B77-A702FE729487}">
      <dgm:prSet/>
      <dgm:spPr/>
      <dgm:t>
        <a:bodyPr/>
        <a:lstStyle/>
        <a:p>
          <a:endParaRPr lang="en-US"/>
        </a:p>
      </dgm:t>
    </dgm:pt>
    <dgm:pt modelId="{8CDD486D-0BA1-4A48-93E0-19E29D30A7BE}" type="pres">
      <dgm:prSet presAssocID="{D6FDDC66-6C4F-4ACA-AAF7-4F5F636C4134}" presName="cycleMatrixDiagram" presStyleCnt="0">
        <dgm:presLayoutVars>
          <dgm:chMax val="1"/>
          <dgm:dir/>
          <dgm:animLvl val="lvl"/>
          <dgm:resizeHandles val="exact"/>
        </dgm:presLayoutVars>
      </dgm:prSet>
      <dgm:spPr/>
      <dgm:t>
        <a:bodyPr/>
        <a:lstStyle/>
        <a:p>
          <a:endParaRPr lang="en-US"/>
        </a:p>
      </dgm:t>
    </dgm:pt>
    <dgm:pt modelId="{E31DF497-2AB3-4CBB-802A-516B75F760C9}" type="pres">
      <dgm:prSet presAssocID="{D6FDDC66-6C4F-4ACA-AAF7-4F5F636C4134}" presName="children" presStyleCnt="0"/>
      <dgm:spPr/>
    </dgm:pt>
    <dgm:pt modelId="{C35860BB-2FDE-4FCB-ADD2-B6452002964F}" type="pres">
      <dgm:prSet presAssocID="{D6FDDC66-6C4F-4ACA-AAF7-4F5F636C4134}" presName="childPlaceholder" presStyleCnt="0"/>
      <dgm:spPr/>
    </dgm:pt>
    <dgm:pt modelId="{909DA02B-F9BC-482B-BBE8-FB7B70A64AD0}" type="pres">
      <dgm:prSet presAssocID="{D6FDDC66-6C4F-4ACA-AAF7-4F5F636C4134}" presName="circle" presStyleCnt="0"/>
      <dgm:spPr/>
    </dgm:pt>
    <dgm:pt modelId="{F7F9EA50-C23E-4E12-B2C5-AEAE50617F9B}" type="pres">
      <dgm:prSet presAssocID="{D6FDDC66-6C4F-4ACA-AAF7-4F5F636C4134}" presName="quadrant1" presStyleLbl="node1" presStyleIdx="0" presStyleCnt="4">
        <dgm:presLayoutVars>
          <dgm:chMax val="1"/>
          <dgm:bulletEnabled val="1"/>
        </dgm:presLayoutVars>
      </dgm:prSet>
      <dgm:spPr/>
      <dgm:t>
        <a:bodyPr/>
        <a:lstStyle/>
        <a:p>
          <a:endParaRPr lang="en-US"/>
        </a:p>
      </dgm:t>
    </dgm:pt>
    <dgm:pt modelId="{CC07A674-3DEA-444B-872D-F5CC289F529B}" type="pres">
      <dgm:prSet presAssocID="{D6FDDC66-6C4F-4ACA-AAF7-4F5F636C4134}" presName="quadrant2" presStyleLbl="node1" presStyleIdx="1" presStyleCnt="4">
        <dgm:presLayoutVars>
          <dgm:chMax val="1"/>
          <dgm:bulletEnabled val="1"/>
        </dgm:presLayoutVars>
      </dgm:prSet>
      <dgm:spPr/>
      <dgm:t>
        <a:bodyPr/>
        <a:lstStyle/>
        <a:p>
          <a:endParaRPr lang="en-US"/>
        </a:p>
      </dgm:t>
    </dgm:pt>
    <dgm:pt modelId="{253F6656-0DE0-492E-9D7B-CD95A0436DC6}" type="pres">
      <dgm:prSet presAssocID="{D6FDDC66-6C4F-4ACA-AAF7-4F5F636C4134}" presName="quadrant3" presStyleLbl="node1" presStyleIdx="2" presStyleCnt="4">
        <dgm:presLayoutVars>
          <dgm:chMax val="1"/>
          <dgm:bulletEnabled val="1"/>
        </dgm:presLayoutVars>
      </dgm:prSet>
      <dgm:spPr/>
      <dgm:t>
        <a:bodyPr/>
        <a:lstStyle/>
        <a:p>
          <a:endParaRPr lang="en-US"/>
        </a:p>
      </dgm:t>
    </dgm:pt>
    <dgm:pt modelId="{952138F3-D74E-4B1B-8116-5A2A90963491}" type="pres">
      <dgm:prSet presAssocID="{D6FDDC66-6C4F-4ACA-AAF7-4F5F636C4134}" presName="quadrant4" presStyleLbl="node1" presStyleIdx="3" presStyleCnt="4">
        <dgm:presLayoutVars>
          <dgm:chMax val="1"/>
          <dgm:bulletEnabled val="1"/>
        </dgm:presLayoutVars>
      </dgm:prSet>
      <dgm:spPr/>
      <dgm:t>
        <a:bodyPr/>
        <a:lstStyle/>
        <a:p>
          <a:endParaRPr lang="en-US"/>
        </a:p>
      </dgm:t>
    </dgm:pt>
    <dgm:pt modelId="{D01479E4-7288-4879-B765-39FCDA405CFF}" type="pres">
      <dgm:prSet presAssocID="{D6FDDC66-6C4F-4ACA-AAF7-4F5F636C4134}" presName="quadrantPlaceholder" presStyleCnt="0"/>
      <dgm:spPr/>
    </dgm:pt>
    <dgm:pt modelId="{8CE41E1D-C822-4653-B19D-8B19B2DB3807}" type="pres">
      <dgm:prSet presAssocID="{D6FDDC66-6C4F-4ACA-AAF7-4F5F636C4134}" presName="center1" presStyleLbl="fgShp" presStyleIdx="0" presStyleCnt="2"/>
      <dgm:spPr/>
    </dgm:pt>
    <dgm:pt modelId="{BBF08541-9398-4641-A9AF-86C494BB8A23}" type="pres">
      <dgm:prSet presAssocID="{D6FDDC66-6C4F-4ACA-AAF7-4F5F636C4134}" presName="center2" presStyleLbl="fgShp" presStyleIdx="1" presStyleCnt="2"/>
      <dgm:spPr/>
    </dgm:pt>
  </dgm:ptLst>
  <dgm:cxnLst>
    <dgm:cxn modelId="{46278A29-D2F3-449D-BA00-D14BCDE94C8B}" type="presOf" srcId="{526789B5-EC31-4709-BA8C-0DB3267DF95D}" destId="{952138F3-D74E-4B1B-8116-5A2A90963491}" srcOrd="0" destOrd="0" presId="urn:microsoft.com/office/officeart/2005/8/layout/cycle4"/>
    <dgm:cxn modelId="{5E9187BF-4890-4B7A-B917-A197614FF04F}" srcId="{D6FDDC66-6C4F-4ACA-AAF7-4F5F636C4134}" destId="{3937A9D5-9318-4BB9-9ED4-1E8627C6FCC9}" srcOrd="0" destOrd="0" parTransId="{D242C5F9-B109-4328-AAE6-D99A4A2FF6E7}" sibTransId="{75298995-C254-40D9-A0C6-A8FC371B64BA}"/>
    <dgm:cxn modelId="{35830B3E-AE1F-400D-BE81-7CBB767D04EF}" type="presOf" srcId="{3937A9D5-9318-4BB9-9ED4-1E8627C6FCC9}" destId="{F7F9EA50-C23E-4E12-B2C5-AEAE50617F9B}" srcOrd="0" destOrd="0" presId="urn:microsoft.com/office/officeart/2005/8/layout/cycle4"/>
    <dgm:cxn modelId="{CE35FE45-20EE-47AB-8B77-A702FE729487}" srcId="{D6FDDC66-6C4F-4ACA-AAF7-4F5F636C4134}" destId="{526789B5-EC31-4709-BA8C-0DB3267DF95D}" srcOrd="3" destOrd="0" parTransId="{CBDFC180-F51D-4B9B-B21A-225FB11C4645}" sibTransId="{F0D25B83-9793-4A1D-9B84-879006597848}"/>
    <dgm:cxn modelId="{C4B7A0BB-B9C4-4E28-AF40-2915FC809433}" srcId="{D6FDDC66-6C4F-4ACA-AAF7-4F5F636C4134}" destId="{701CA873-6A48-4C15-9A0D-0FEAF639182D}" srcOrd="1" destOrd="0" parTransId="{7425DCDE-C1E3-42E9-B8A7-A2C6CF3E8CE9}" sibTransId="{A2425922-5BF5-4605-BBF3-C6B0DCE2A9CB}"/>
    <dgm:cxn modelId="{61AB9C55-5BEA-4AF1-8298-14015CCCDECC}" type="presOf" srcId="{4DEDE849-B01A-4B45-9336-547309E46A97}" destId="{253F6656-0DE0-492E-9D7B-CD95A0436DC6}" srcOrd="0" destOrd="0" presId="urn:microsoft.com/office/officeart/2005/8/layout/cycle4"/>
    <dgm:cxn modelId="{BDC8DDC9-2951-4BF8-955A-0310CA9273C8}" type="presOf" srcId="{D6FDDC66-6C4F-4ACA-AAF7-4F5F636C4134}" destId="{8CDD486D-0BA1-4A48-93E0-19E29D30A7BE}" srcOrd="0" destOrd="0" presId="urn:microsoft.com/office/officeart/2005/8/layout/cycle4"/>
    <dgm:cxn modelId="{289089B7-88C2-49FC-B0C6-78E972109E8C}" type="presOf" srcId="{701CA873-6A48-4C15-9A0D-0FEAF639182D}" destId="{CC07A674-3DEA-444B-872D-F5CC289F529B}" srcOrd="0" destOrd="0" presId="urn:microsoft.com/office/officeart/2005/8/layout/cycle4"/>
    <dgm:cxn modelId="{F807EB37-A65D-4222-8A79-3D0F8C9CED36}" srcId="{D6FDDC66-6C4F-4ACA-AAF7-4F5F636C4134}" destId="{4DEDE849-B01A-4B45-9336-547309E46A97}" srcOrd="2" destOrd="0" parTransId="{ECD45337-AF81-4104-8D64-D32D9578C7CC}" sibTransId="{9F680A65-9212-4203-B87F-472C9C49C632}"/>
    <dgm:cxn modelId="{B99C7EC6-3651-4307-BA9D-EFD37D574730}" type="presParOf" srcId="{8CDD486D-0BA1-4A48-93E0-19E29D30A7BE}" destId="{E31DF497-2AB3-4CBB-802A-516B75F760C9}" srcOrd="0" destOrd="0" presId="urn:microsoft.com/office/officeart/2005/8/layout/cycle4"/>
    <dgm:cxn modelId="{DE0B0180-F3D9-4978-A453-ED3FE362FD7F}" type="presParOf" srcId="{E31DF497-2AB3-4CBB-802A-516B75F760C9}" destId="{C35860BB-2FDE-4FCB-ADD2-B6452002964F}" srcOrd="0" destOrd="0" presId="urn:microsoft.com/office/officeart/2005/8/layout/cycle4"/>
    <dgm:cxn modelId="{28038CFF-8474-4630-B13F-087F5E72BA3A}" type="presParOf" srcId="{8CDD486D-0BA1-4A48-93E0-19E29D30A7BE}" destId="{909DA02B-F9BC-482B-BBE8-FB7B70A64AD0}" srcOrd="1" destOrd="0" presId="urn:microsoft.com/office/officeart/2005/8/layout/cycle4"/>
    <dgm:cxn modelId="{62C2BFB3-02F6-4698-9373-C59F5CF11DD6}" type="presParOf" srcId="{909DA02B-F9BC-482B-BBE8-FB7B70A64AD0}" destId="{F7F9EA50-C23E-4E12-B2C5-AEAE50617F9B}" srcOrd="0" destOrd="0" presId="urn:microsoft.com/office/officeart/2005/8/layout/cycle4"/>
    <dgm:cxn modelId="{5EED7A02-00B0-4AD1-904C-19D5F30237DF}" type="presParOf" srcId="{909DA02B-F9BC-482B-BBE8-FB7B70A64AD0}" destId="{CC07A674-3DEA-444B-872D-F5CC289F529B}" srcOrd="1" destOrd="0" presId="urn:microsoft.com/office/officeart/2005/8/layout/cycle4"/>
    <dgm:cxn modelId="{27663C6E-4C01-43D0-ADD6-E3469780E4B2}" type="presParOf" srcId="{909DA02B-F9BC-482B-BBE8-FB7B70A64AD0}" destId="{253F6656-0DE0-492E-9D7B-CD95A0436DC6}" srcOrd="2" destOrd="0" presId="urn:microsoft.com/office/officeart/2005/8/layout/cycle4"/>
    <dgm:cxn modelId="{506A3EE1-5873-4716-A705-93F49757FCA6}" type="presParOf" srcId="{909DA02B-F9BC-482B-BBE8-FB7B70A64AD0}" destId="{952138F3-D74E-4B1B-8116-5A2A90963491}" srcOrd="3" destOrd="0" presId="urn:microsoft.com/office/officeart/2005/8/layout/cycle4"/>
    <dgm:cxn modelId="{9188E962-D007-49A6-BEC2-8DC673FD1D6B}" type="presParOf" srcId="{909DA02B-F9BC-482B-BBE8-FB7B70A64AD0}" destId="{D01479E4-7288-4879-B765-39FCDA405CFF}" srcOrd="4" destOrd="0" presId="urn:microsoft.com/office/officeart/2005/8/layout/cycle4"/>
    <dgm:cxn modelId="{C4D1E763-2C63-43FD-A95C-61ED134AA9F5}" type="presParOf" srcId="{8CDD486D-0BA1-4A48-93E0-19E29D30A7BE}" destId="{8CE41E1D-C822-4653-B19D-8B19B2DB3807}" srcOrd="2" destOrd="0" presId="urn:microsoft.com/office/officeart/2005/8/layout/cycle4"/>
    <dgm:cxn modelId="{886B3C10-EEDA-4B38-97C1-943EA99E88B9}" type="presParOf" srcId="{8CDD486D-0BA1-4A48-93E0-19E29D30A7BE}" destId="{BBF08541-9398-4641-A9AF-86C494BB8A23}" srcOrd="3" destOrd="0" presId="urn:microsoft.com/office/officeart/2005/8/layout/cycle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EB71F0D-D466-4F5F-A3A4-6E1FF2841025}">
      <dsp:nvSpPr>
        <dsp:cNvPr id="0" name=""/>
        <dsp:cNvSpPr/>
      </dsp:nvSpPr>
      <dsp:spPr>
        <a:xfrm>
          <a:off x="1682" y="766893"/>
          <a:ext cx="3628656" cy="426900"/>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6530803-5CCF-4E5F-B9C2-70A66834B964}">
      <dsp:nvSpPr>
        <dsp:cNvPr id="0" name=""/>
        <dsp:cNvSpPr/>
      </dsp:nvSpPr>
      <dsp:spPr>
        <a:xfrm>
          <a:off x="5373814" y="5721415"/>
          <a:ext cx="266574" cy="266574"/>
        </a:xfrm>
        <a:prstGeom prst="rect">
          <a:avLst/>
        </a:prstGeom>
        <a:noFill/>
        <a:ln w="25400" cap="flat" cmpd="sng" algn="ctr">
          <a:noFill/>
          <a:prstDash val="solid"/>
        </a:ln>
        <a:effectLst/>
      </dsp:spPr>
      <dsp:style>
        <a:lnRef idx="2">
          <a:scrgbClr r="0" g="0" b="0"/>
        </a:lnRef>
        <a:fillRef idx="1">
          <a:scrgbClr r="0" g="0" b="0"/>
        </a:fillRef>
        <a:effectRef idx="0">
          <a:scrgbClr r="0" g="0" b="0"/>
        </a:effectRef>
        <a:fontRef idx="minor"/>
      </dsp:style>
    </dsp:sp>
    <dsp:sp modelId="{8D47706E-A337-4A7C-A9D6-111267B491E9}">
      <dsp:nvSpPr>
        <dsp:cNvPr id="0" name=""/>
        <dsp:cNvSpPr/>
      </dsp:nvSpPr>
      <dsp:spPr>
        <a:xfrm>
          <a:off x="28571" y="618016"/>
          <a:ext cx="3628656" cy="76689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0480" tIns="20320" rIns="30480" bIns="20320" numCol="1" spcCol="1270" anchor="ctr" anchorCtr="0">
          <a:noAutofit/>
        </a:bodyPr>
        <a:lstStyle/>
        <a:p>
          <a:pPr lvl="0" algn="l" defTabSz="711200">
            <a:lnSpc>
              <a:spcPct val="90000"/>
            </a:lnSpc>
            <a:spcBef>
              <a:spcPct val="0"/>
            </a:spcBef>
            <a:spcAft>
              <a:spcPct val="35000"/>
            </a:spcAft>
          </a:pPr>
          <a:r>
            <a:rPr lang="en-US" sz="1600" kern="1200" dirty="0" smtClean="0">
              <a:solidFill>
                <a:schemeClr val="bg1"/>
              </a:solidFill>
            </a:rPr>
            <a:t>Caribe</a:t>
          </a:r>
          <a:endParaRPr lang="en-US" sz="1600" kern="1200" dirty="0">
            <a:solidFill>
              <a:schemeClr val="bg1"/>
            </a:solidFill>
          </a:endParaRPr>
        </a:p>
      </dsp:txBody>
      <dsp:txXfrm>
        <a:off x="28571" y="618016"/>
        <a:ext cx="3628656" cy="766893"/>
      </dsp:txXfrm>
    </dsp:sp>
    <dsp:sp modelId="{59F9B1D4-E01A-477F-84F5-14241417AD30}">
      <dsp:nvSpPr>
        <dsp:cNvPr id="0" name=""/>
        <dsp:cNvSpPr/>
      </dsp:nvSpPr>
      <dsp:spPr>
        <a:xfrm>
          <a:off x="1682" y="1548596"/>
          <a:ext cx="266567" cy="266567"/>
        </a:xfrm>
        <a:prstGeom prst="rect">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FA8353E-F6AB-4D6A-B562-A24CDA813155}">
      <dsp:nvSpPr>
        <dsp:cNvPr id="0" name=""/>
        <dsp:cNvSpPr/>
      </dsp:nvSpPr>
      <dsp:spPr>
        <a:xfrm>
          <a:off x="255688" y="1371195"/>
          <a:ext cx="3374650" cy="62136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s-CO" sz="1200" kern="1200" noProof="0" dirty="0" smtClean="0"/>
            <a:t>Disminución de capacidad en islas con mayor exposición CAT fue ligeramente compensada por aumentos o capacidades nuevas</a:t>
          </a:r>
          <a:endParaRPr lang="es-CO" sz="1200" kern="1200" noProof="0" dirty="0"/>
        </a:p>
      </dsp:txBody>
      <dsp:txXfrm>
        <a:off x="255688" y="1371195"/>
        <a:ext cx="3374650" cy="621369"/>
      </dsp:txXfrm>
    </dsp:sp>
    <dsp:sp modelId="{0EFC3088-9994-4FED-AB3C-2DC56296C952}">
      <dsp:nvSpPr>
        <dsp:cNvPr id="0" name=""/>
        <dsp:cNvSpPr/>
      </dsp:nvSpPr>
      <dsp:spPr>
        <a:xfrm>
          <a:off x="1682" y="2169965"/>
          <a:ext cx="266567" cy="266567"/>
        </a:xfrm>
        <a:prstGeom prst="rect">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2A38FF0-2188-4166-A684-F7A92E0D4278}">
      <dsp:nvSpPr>
        <dsp:cNvPr id="0" name=""/>
        <dsp:cNvSpPr/>
      </dsp:nvSpPr>
      <dsp:spPr>
        <a:xfrm>
          <a:off x="255688" y="1992564"/>
          <a:ext cx="3374650" cy="62136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s-CO" sz="1200" kern="1200" noProof="0" dirty="0" smtClean="0"/>
            <a:t>+5 a +10% en XL / territorios con mas exposición CAT (ej. Norte del Caribe)</a:t>
          </a:r>
          <a:endParaRPr lang="es-CO" sz="1200" kern="1200" noProof="0" dirty="0"/>
        </a:p>
      </dsp:txBody>
      <dsp:txXfrm>
        <a:off x="255688" y="1992564"/>
        <a:ext cx="3374650" cy="621369"/>
      </dsp:txXfrm>
    </dsp:sp>
    <dsp:sp modelId="{883B188B-DE85-46C2-91AC-4336360156D1}">
      <dsp:nvSpPr>
        <dsp:cNvPr id="0" name=""/>
        <dsp:cNvSpPr/>
      </dsp:nvSpPr>
      <dsp:spPr>
        <a:xfrm>
          <a:off x="1682" y="2791335"/>
          <a:ext cx="266567" cy="266567"/>
        </a:xfrm>
        <a:prstGeom prst="rect">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1D0930D-5229-4D5F-8522-6EF2F8C42109}">
      <dsp:nvSpPr>
        <dsp:cNvPr id="0" name=""/>
        <dsp:cNvSpPr/>
      </dsp:nvSpPr>
      <dsp:spPr>
        <a:xfrm>
          <a:off x="255688" y="2613934"/>
          <a:ext cx="3374650" cy="62136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s-CO" sz="1200" kern="1200" noProof="0" dirty="0" smtClean="0"/>
            <a:t>0% a +5% en pequeños XL / zonas de menos exposición CAT (ej. Caribe Sur).</a:t>
          </a:r>
          <a:endParaRPr lang="es-CO" sz="1200" kern="1200" noProof="0" dirty="0"/>
        </a:p>
      </dsp:txBody>
      <dsp:txXfrm>
        <a:off x="255688" y="2613934"/>
        <a:ext cx="3374650" cy="621369"/>
      </dsp:txXfrm>
    </dsp:sp>
    <dsp:sp modelId="{6514F2C3-A73B-4D64-9DED-AAD4CE2ACEDB}">
      <dsp:nvSpPr>
        <dsp:cNvPr id="0" name=""/>
        <dsp:cNvSpPr/>
      </dsp:nvSpPr>
      <dsp:spPr>
        <a:xfrm>
          <a:off x="1682" y="3412705"/>
          <a:ext cx="266567" cy="266567"/>
        </a:xfrm>
        <a:prstGeom prst="rect">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C5F70BF9-1C7D-4528-BEEA-CDBD1C804852}">
      <dsp:nvSpPr>
        <dsp:cNvPr id="0" name=""/>
        <dsp:cNvSpPr/>
      </dsp:nvSpPr>
      <dsp:spPr>
        <a:xfrm>
          <a:off x="255688" y="3235304"/>
          <a:ext cx="3374650" cy="62136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s-CO" sz="1200" kern="1200" noProof="0" dirty="0" smtClean="0"/>
            <a:t>Mayor apalancamiento en programas de </a:t>
          </a:r>
          <a:r>
            <a:rPr lang="es-CO" sz="1200" kern="1200" noProof="0" dirty="0" err="1" smtClean="0"/>
            <a:t>Casualty</a:t>
          </a:r>
          <a:r>
            <a:rPr lang="es-CO" sz="1200" kern="1200" noProof="0" dirty="0" smtClean="0"/>
            <a:t> para evitar/minimizar reducciones en Property CAT</a:t>
          </a:r>
          <a:endParaRPr lang="es-CO" sz="1200" kern="1200" noProof="0" dirty="0"/>
        </a:p>
      </dsp:txBody>
      <dsp:txXfrm>
        <a:off x="255688" y="3235304"/>
        <a:ext cx="3374650" cy="621369"/>
      </dsp:txXfrm>
    </dsp:sp>
    <dsp:sp modelId="{F2E4E27F-BBED-4095-AED2-631AB101575A}">
      <dsp:nvSpPr>
        <dsp:cNvPr id="0" name=""/>
        <dsp:cNvSpPr/>
      </dsp:nvSpPr>
      <dsp:spPr>
        <a:xfrm>
          <a:off x="1682" y="4034075"/>
          <a:ext cx="266567" cy="266567"/>
        </a:xfrm>
        <a:prstGeom prst="rect">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980C3ABB-C33D-45BE-8569-05808B15B1A5}">
      <dsp:nvSpPr>
        <dsp:cNvPr id="0" name=""/>
        <dsp:cNvSpPr/>
      </dsp:nvSpPr>
      <dsp:spPr>
        <a:xfrm>
          <a:off x="255688" y="3856674"/>
          <a:ext cx="3374650" cy="62136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s-CO" sz="1200" kern="1200" noProof="0" dirty="0" smtClean="0">
              <a:latin typeface="+mn-lt"/>
            </a:rPr>
            <a:t>Aumentos en tasas de Florida han creado una comparación poco favorable con los términos del Caribe Norte.</a:t>
          </a:r>
          <a:endParaRPr lang="es-CO" sz="1200" kern="1200" noProof="0" dirty="0"/>
        </a:p>
      </dsp:txBody>
      <dsp:txXfrm>
        <a:off x="255688" y="3856674"/>
        <a:ext cx="3374650" cy="621369"/>
      </dsp:txXfrm>
    </dsp:sp>
    <dsp:sp modelId="{00444969-DE08-4C02-BB9D-FB0ED82A13DC}">
      <dsp:nvSpPr>
        <dsp:cNvPr id="0" name=""/>
        <dsp:cNvSpPr/>
      </dsp:nvSpPr>
      <dsp:spPr>
        <a:xfrm>
          <a:off x="1682" y="4574088"/>
          <a:ext cx="266567" cy="266567"/>
        </a:xfrm>
        <a:prstGeom prst="rect">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3E2FCBC4-BABB-473C-931D-DA44D8879C63}">
      <dsp:nvSpPr>
        <dsp:cNvPr id="0" name=""/>
        <dsp:cNvSpPr/>
      </dsp:nvSpPr>
      <dsp:spPr>
        <a:xfrm>
          <a:off x="255688" y="4408450"/>
          <a:ext cx="3374650" cy="62136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s-CO" sz="1200" kern="1200" noProof="0" dirty="0" smtClean="0"/>
            <a:t>Presión por parte de reaseguradores a cedentes para aumentar tasas originales</a:t>
          </a:r>
          <a:endParaRPr lang="es-CO" sz="1200" kern="1200" noProof="0" dirty="0">
            <a:latin typeface="+mn-lt"/>
          </a:endParaRPr>
        </a:p>
      </dsp:txBody>
      <dsp:txXfrm>
        <a:off x="255688" y="4408450"/>
        <a:ext cx="3374650" cy="621369"/>
      </dsp:txXfrm>
    </dsp:sp>
    <dsp:sp modelId="{685E3A6D-7A52-4618-9005-570AD7757635}">
      <dsp:nvSpPr>
        <dsp:cNvPr id="0" name=""/>
        <dsp:cNvSpPr/>
      </dsp:nvSpPr>
      <dsp:spPr>
        <a:xfrm>
          <a:off x="3811771" y="766893"/>
          <a:ext cx="3628656" cy="426900"/>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2694D4F-DC58-4C63-AB53-C719609B8B6A}">
      <dsp:nvSpPr>
        <dsp:cNvPr id="0" name=""/>
        <dsp:cNvSpPr/>
      </dsp:nvSpPr>
      <dsp:spPr>
        <a:xfrm>
          <a:off x="4717207" y="5740526"/>
          <a:ext cx="266574" cy="266574"/>
        </a:xfrm>
        <a:prstGeom prst="rect">
          <a:avLst/>
        </a:prstGeom>
        <a:noFill/>
        <a:ln w="25400" cap="flat" cmpd="sng" algn="ctr">
          <a:noFill/>
          <a:prstDash val="solid"/>
        </a:ln>
        <a:effectLst/>
      </dsp:spPr>
      <dsp:style>
        <a:lnRef idx="2">
          <a:scrgbClr r="0" g="0" b="0"/>
        </a:lnRef>
        <a:fillRef idx="1">
          <a:scrgbClr r="0" g="0" b="0"/>
        </a:fillRef>
        <a:effectRef idx="0">
          <a:scrgbClr r="0" g="0" b="0"/>
        </a:effectRef>
        <a:fontRef idx="minor"/>
      </dsp:style>
    </dsp:sp>
    <dsp:sp modelId="{4EA3A5BF-FB02-43EC-BAE3-BBAF6F9861EE}">
      <dsp:nvSpPr>
        <dsp:cNvPr id="0" name=""/>
        <dsp:cNvSpPr/>
      </dsp:nvSpPr>
      <dsp:spPr>
        <a:xfrm>
          <a:off x="3829697" y="609603"/>
          <a:ext cx="3628656" cy="76689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0480" tIns="20320" rIns="30480" bIns="20320" numCol="1" spcCol="1270" anchor="ctr" anchorCtr="0">
          <a:noAutofit/>
        </a:bodyPr>
        <a:lstStyle/>
        <a:p>
          <a:pPr lvl="0" algn="l" defTabSz="711200">
            <a:lnSpc>
              <a:spcPct val="90000"/>
            </a:lnSpc>
            <a:spcBef>
              <a:spcPct val="0"/>
            </a:spcBef>
            <a:spcAft>
              <a:spcPct val="35000"/>
            </a:spcAft>
          </a:pPr>
          <a:r>
            <a:rPr lang="en-US" sz="1600" kern="1200" dirty="0" smtClean="0">
              <a:solidFill>
                <a:schemeClr val="bg1"/>
              </a:solidFill>
            </a:rPr>
            <a:t>America Latina</a:t>
          </a:r>
          <a:endParaRPr lang="en-US" sz="1600" kern="1200" dirty="0">
            <a:solidFill>
              <a:schemeClr val="bg1"/>
            </a:solidFill>
          </a:endParaRPr>
        </a:p>
      </dsp:txBody>
      <dsp:txXfrm>
        <a:off x="3829697" y="609603"/>
        <a:ext cx="3628656" cy="766893"/>
      </dsp:txXfrm>
    </dsp:sp>
    <dsp:sp modelId="{EB6F5961-71CB-4CFE-BF81-C6B9AC9B085C}">
      <dsp:nvSpPr>
        <dsp:cNvPr id="0" name=""/>
        <dsp:cNvSpPr/>
      </dsp:nvSpPr>
      <dsp:spPr>
        <a:xfrm>
          <a:off x="3811771" y="1548596"/>
          <a:ext cx="266567" cy="266567"/>
        </a:xfrm>
        <a:prstGeom prst="rect">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C3E606E5-C8C1-4F33-AA5A-4CD5534E04FA}">
      <dsp:nvSpPr>
        <dsp:cNvPr id="0" name=""/>
        <dsp:cNvSpPr/>
      </dsp:nvSpPr>
      <dsp:spPr>
        <a:xfrm>
          <a:off x="4065777" y="1371195"/>
          <a:ext cx="3374650" cy="62136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s-CO" sz="1200" kern="1200" noProof="0" dirty="0" smtClean="0"/>
            <a:t>Disponibilidad de capacidad varió significativamente dependiendo de la exposición CAT y capacidad requerida</a:t>
          </a:r>
          <a:endParaRPr lang="es-CO" sz="1200" kern="1200" noProof="0" dirty="0"/>
        </a:p>
      </dsp:txBody>
      <dsp:txXfrm>
        <a:off x="4065777" y="1371195"/>
        <a:ext cx="3374650" cy="621369"/>
      </dsp:txXfrm>
    </dsp:sp>
    <dsp:sp modelId="{CEE2F4E3-CC8C-4F5E-9959-C97B19522CC7}">
      <dsp:nvSpPr>
        <dsp:cNvPr id="0" name=""/>
        <dsp:cNvSpPr/>
      </dsp:nvSpPr>
      <dsp:spPr>
        <a:xfrm>
          <a:off x="3811771" y="2169965"/>
          <a:ext cx="266567" cy="266567"/>
        </a:xfrm>
        <a:prstGeom prst="rect">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EC00A54-67A0-4C06-9A0A-7F4630544F5C}">
      <dsp:nvSpPr>
        <dsp:cNvPr id="0" name=""/>
        <dsp:cNvSpPr/>
      </dsp:nvSpPr>
      <dsp:spPr>
        <a:xfrm>
          <a:off x="4065777" y="1992564"/>
          <a:ext cx="3374650" cy="62136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s-CO" sz="1200" kern="1200" noProof="0" dirty="0" smtClean="0"/>
            <a:t>Términos estables en QS, excepto en programas CAT grandes donde hubo capacidad limitada</a:t>
          </a:r>
          <a:endParaRPr lang="es-CO" sz="1200" kern="1200" noProof="0" dirty="0"/>
        </a:p>
      </dsp:txBody>
      <dsp:txXfrm>
        <a:off x="4065777" y="1992564"/>
        <a:ext cx="3374650" cy="621369"/>
      </dsp:txXfrm>
    </dsp:sp>
    <dsp:sp modelId="{AFFDB9C5-22F2-4CB5-B634-33D540419F9C}">
      <dsp:nvSpPr>
        <dsp:cNvPr id="0" name=""/>
        <dsp:cNvSpPr/>
      </dsp:nvSpPr>
      <dsp:spPr>
        <a:xfrm>
          <a:off x="3811771" y="2781166"/>
          <a:ext cx="266567" cy="266567"/>
        </a:xfrm>
        <a:prstGeom prst="rect">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7D8C35D-11FC-4582-9728-9D0B5D009568}">
      <dsp:nvSpPr>
        <dsp:cNvPr id="0" name=""/>
        <dsp:cNvSpPr/>
      </dsp:nvSpPr>
      <dsp:spPr>
        <a:xfrm>
          <a:off x="4065777" y="2613934"/>
          <a:ext cx="3374650" cy="62136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s-CO" sz="1200" kern="1200" noProof="0" dirty="0" smtClean="0"/>
            <a:t>+5 a +10% en XL grandes / mayor exposición CAT (ej. Colombia / Chile) – aumentos de hasta +15% en Chile.</a:t>
          </a:r>
          <a:endParaRPr lang="es-CO" sz="1200" kern="1200" noProof="0" dirty="0"/>
        </a:p>
      </dsp:txBody>
      <dsp:txXfrm>
        <a:off x="4065777" y="2613934"/>
        <a:ext cx="3374650" cy="621369"/>
      </dsp:txXfrm>
    </dsp:sp>
    <dsp:sp modelId="{AFF9B6C0-26BD-4AA6-AFF4-7853146B1F32}">
      <dsp:nvSpPr>
        <dsp:cNvPr id="0" name=""/>
        <dsp:cNvSpPr/>
      </dsp:nvSpPr>
      <dsp:spPr>
        <a:xfrm>
          <a:off x="3811771" y="3412705"/>
          <a:ext cx="266567" cy="266567"/>
        </a:xfrm>
        <a:prstGeom prst="rect">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569B9E0-291F-498D-BB8A-3EF664E74851}">
      <dsp:nvSpPr>
        <dsp:cNvPr id="0" name=""/>
        <dsp:cNvSpPr/>
      </dsp:nvSpPr>
      <dsp:spPr>
        <a:xfrm>
          <a:off x="4065777" y="3235304"/>
          <a:ext cx="3374650" cy="62136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s-CO" sz="1200" kern="1200" noProof="0" dirty="0" smtClean="0"/>
            <a:t>0% a +5% en XL pequeños / zonas menos expuestas (ej. Argentina / </a:t>
          </a:r>
          <a:r>
            <a:rPr lang="es-CO" sz="1200" kern="1200" noProof="0" dirty="0" smtClean="0"/>
            <a:t>Brasil </a:t>
          </a:r>
          <a:r>
            <a:rPr lang="es-CO" sz="1200" kern="1200" noProof="0" dirty="0" smtClean="0"/>
            <a:t>/ resto de </a:t>
          </a:r>
          <a:r>
            <a:rPr lang="es-CO" sz="1200" kern="1200" noProof="0" dirty="0" err="1" smtClean="0"/>
            <a:t>LatAm</a:t>
          </a:r>
          <a:r>
            <a:rPr lang="es-CO" sz="1200" kern="1200" noProof="0" dirty="0" smtClean="0"/>
            <a:t> ex. Colombia &amp; Chile).</a:t>
          </a:r>
          <a:endParaRPr lang="es-CO" sz="1200" kern="1200" noProof="0" dirty="0"/>
        </a:p>
      </dsp:txBody>
      <dsp:txXfrm>
        <a:off x="4065777" y="3235304"/>
        <a:ext cx="3374650" cy="621369"/>
      </dsp:txXfrm>
    </dsp:sp>
    <dsp:sp modelId="{13ABD742-623B-4B5E-929C-34A7DFF7B1EC}">
      <dsp:nvSpPr>
        <dsp:cNvPr id="0" name=""/>
        <dsp:cNvSpPr/>
      </dsp:nvSpPr>
      <dsp:spPr>
        <a:xfrm>
          <a:off x="3811771" y="4034075"/>
          <a:ext cx="266567" cy="266567"/>
        </a:xfrm>
        <a:prstGeom prst="rect">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C6898E3-CFCC-4256-8A03-EB6C17BDDEF3}">
      <dsp:nvSpPr>
        <dsp:cNvPr id="0" name=""/>
        <dsp:cNvSpPr/>
      </dsp:nvSpPr>
      <dsp:spPr>
        <a:xfrm>
          <a:off x="4065777" y="3856674"/>
          <a:ext cx="3374650" cy="62136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s-CO" sz="1200" kern="1200" noProof="0" dirty="0" smtClean="0"/>
            <a:t>Algunas disminuciones en PML mitigaron reducciones de capacitad</a:t>
          </a:r>
          <a:endParaRPr lang="es-CO" sz="1200" kern="1200" noProof="0" dirty="0"/>
        </a:p>
      </dsp:txBody>
      <dsp:txXfrm>
        <a:off x="4065777" y="3856674"/>
        <a:ext cx="3374650" cy="621369"/>
      </dsp:txXfrm>
    </dsp:sp>
    <dsp:sp modelId="{5886F596-25F0-404C-8869-9D607E0D11FF}">
      <dsp:nvSpPr>
        <dsp:cNvPr id="0" name=""/>
        <dsp:cNvSpPr/>
      </dsp:nvSpPr>
      <dsp:spPr>
        <a:xfrm>
          <a:off x="7621860" y="766893"/>
          <a:ext cx="3628656" cy="426900"/>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79D15B8-B579-4E60-8DD6-2960C2236819}">
      <dsp:nvSpPr>
        <dsp:cNvPr id="0" name=""/>
        <dsp:cNvSpPr/>
      </dsp:nvSpPr>
      <dsp:spPr>
        <a:xfrm>
          <a:off x="5040025" y="5740526"/>
          <a:ext cx="266574" cy="266574"/>
        </a:xfrm>
        <a:prstGeom prst="rect">
          <a:avLst/>
        </a:prstGeom>
        <a:noFill/>
        <a:ln w="25400" cap="flat" cmpd="sng" algn="ctr">
          <a:noFill/>
          <a:prstDash val="solid"/>
        </a:ln>
        <a:effectLst/>
      </dsp:spPr>
      <dsp:style>
        <a:lnRef idx="2">
          <a:scrgbClr r="0" g="0" b="0"/>
        </a:lnRef>
        <a:fillRef idx="1">
          <a:scrgbClr r="0" g="0" b="0"/>
        </a:fillRef>
        <a:effectRef idx="0">
          <a:scrgbClr r="0" g="0" b="0"/>
        </a:effectRef>
        <a:fontRef idx="minor"/>
      </dsp:style>
    </dsp:sp>
    <dsp:sp modelId="{0FC3F5E3-E879-4B81-A70B-DB6A935F460B}">
      <dsp:nvSpPr>
        <dsp:cNvPr id="0" name=""/>
        <dsp:cNvSpPr/>
      </dsp:nvSpPr>
      <dsp:spPr>
        <a:xfrm>
          <a:off x="7623543" y="600630"/>
          <a:ext cx="3628656" cy="76689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0480" tIns="20320" rIns="30480" bIns="20320" numCol="1" spcCol="1270" anchor="ctr" anchorCtr="0">
          <a:noAutofit/>
        </a:bodyPr>
        <a:lstStyle/>
        <a:p>
          <a:pPr lvl="0" algn="l" defTabSz="711200">
            <a:lnSpc>
              <a:spcPct val="90000"/>
            </a:lnSpc>
            <a:spcBef>
              <a:spcPct val="0"/>
            </a:spcBef>
            <a:spcAft>
              <a:spcPct val="35000"/>
            </a:spcAft>
          </a:pPr>
          <a:r>
            <a:rPr lang="en-US" sz="1600" kern="1200" dirty="0" smtClean="0">
              <a:solidFill>
                <a:schemeClr val="bg1"/>
              </a:solidFill>
            </a:rPr>
            <a:t>Vida &amp; </a:t>
          </a:r>
          <a:r>
            <a:rPr lang="en-US" sz="1600" kern="1200" dirty="0" err="1" smtClean="0">
              <a:solidFill>
                <a:schemeClr val="bg1"/>
              </a:solidFill>
            </a:rPr>
            <a:t>Salud</a:t>
          </a:r>
          <a:endParaRPr lang="en-US" sz="1600" kern="1200" dirty="0">
            <a:solidFill>
              <a:schemeClr val="bg1"/>
            </a:solidFill>
          </a:endParaRPr>
        </a:p>
      </dsp:txBody>
      <dsp:txXfrm>
        <a:off x="7623543" y="600630"/>
        <a:ext cx="3628656" cy="766893"/>
      </dsp:txXfrm>
    </dsp:sp>
    <dsp:sp modelId="{748C6263-F9AA-44AC-973A-23F139ADBF7C}">
      <dsp:nvSpPr>
        <dsp:cNvPr id="0" name=""/>
        <dsp:cNvSpPr/>
      </dsp:nvSpPr>
      <dsp:spPr>
        <a:xfrm>
          <a:off x="7621860" y="1548596"/>
          <a:ext cx="266567" cy="266567"/>
        </a:xfrm>
        <a:prstGeom prst="rect">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DAF18E2-78D9-4BE7-8D64-5FA4090934D9}">
      <dsp:nvSpPr>
        <dsp:cNvPr id="0" name=""/>
        <dsp:cNvSpPr/>
      </dsp:nvSpPr>
      <dsp:spPr>
        <a:xfrm>
          <a:off x="7875866" y="1371195"/>
          <a:ext cx="3374650" cy="62136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s-CO" sz="1200" kern="1200" noProof="0" dirty="0" smtClean="0">
              <a:latin typeface="+mn-lt"/>
              <a:cs typeface="Calibri" panose="020F0502020204030204" pitchFamily="34" charset="0"/>
            </a:rPr>
            <a:t>Existe capacidad en Vida pero con precios considerables debido a </a:t>
          </a:r>
          <a:r>
            <a:rPr lang="es-CO" sz="1200" kern="1200" noProof="0" dirty="0" smtClean="0">
              <a:latin typeface="+mn-lt"/>
              <a:cs typeface="Calibri" panose="020F0502020204030204" pitchFamily="34" charset="0"/>
            </a:rPr>
            <a:t>pérdidas </a:t>
          </a:r>
          <a:r>
            <a:rPr lang="es-CO" sz="1200" kern="1200" noProof="0" dirty="0" smtClean="0">
              <a:latin typeface="+mn-lt"/>
              <a:cs typeface="Calibri" panose="020F0502020204030204" pitchFamily="34" charset="0"/>
            </a:rPr>
            <a:t>por COVID</a:t>
          </a:r>
          <a:endParaRPr lang="es-CO" sz="1200" kern="1200" noProof="0" dirty="0">
            <a:latin typeface="+mn-lt"/>
          </a:endParaRPr>
        </a:p>
      </dsp:txBody>
      <dsp:txXfrm>
        <a:off x="7875866" y="1371195"/>
        <a:ext cx="3374650" cy="621369"/>
      </dsp:txXfrm>
    </dsp:sp>
    <dsp:sp modelId="{27F45FFA-7EED-4023-BDC0-56CB6E8BF726}">
      <dsp:nvSpPr>
        <dsp:cNvPr id="0" name=""/>
        <dsp:cNvSpPr/>
      </dsp:nvSpPr>
      <dsp:spPr>
        <a:xfrm>
          <a:off x="7621860" y="2169965"/>
          <a:ext cx="266567" cy="266567"/>
        </a:xfrm>
        <a:prstGeom prst="rect">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199A72F-0DE9-472F-A976-75EE29FA6FE4}">
      <dsp:nvSpPr>
        <dsp:cNvPr id="0" name=""/>
        <dsp:cNvSpPr/>
      </dsp:nvSpPr>
      <dsp:spPr>
        <a:xfrm>
          <a:off x="7875866" y="1992564"/>
          <a:ext cx="3374650" cy="62136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s-CO" sz="1200" kern="1200" noProof="0" dirty="0" smtClean="0"/>
            <a:t>Efectos de largo plazo de la pandemia (COVID prolongado, Salud mental) mantienen incertidumbre sobre el futuro.</a:t>
          </a:r>
          <a:endParaRPr lang="es-CO" sz="1200" kern="1200" noProof="0" dirty="0"/>
        </a:p>
      </dsp:txBody>
      <dsp:txXfrm>
        <a:off x="7875866" y="1992564"/>
        <a:ext cx="3374650" cy="621369"/>
      </dsp:txXfrm>
    </dsp:sp>
    <dsp:sp modelId="{7B49402C-779B-4766-9CEC-179B4133597F}">
      <dsp:nvSpPr>
        <dsp:cNvPr id="0" name=""/>
        <dsp:cNvSpPr/>
      </dsp:nvSpPr>
      <dsp:spPr>
        <a:xfrm>
          <a:off x="7621860" y="2791335"/>
          <a:ext cx="266567" cy="266567"/>
        </a:xfrm>
        <a:prstGeom prst="rect">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3D7B322-6225-4A67-BB20-513C9F167847}">
      <dsp:nvSpPr>
        <dsp:cNvPr id="0" name=""/>
        <dsp:cNvSpPr/>
      </dsp:nvSpPr>
      <dsp:spPr>
        <a:xfrm>
          <a:off x="7875866" y="2613934"/>
          <a:ext cx="3374650" cy="62136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s-CO" sz="1200" kern="1200" noProof="0" dirty="0" smtClean="0"/>
            <a:t>Algunos reaseguradores renovaron su capacidad actual pero no esperan aumentarla.</a:t>
          </a:r>
          <a:endParaRPr lang="es-CO" sz="1200" kern="1200" noProof="0" dirty="0"/>
        </a:p>
      </dsp:txBody>
      <dsp:txXfrm>
        <a:off x="7875866" y="2613934"/>
        <a:ext cx="3374650" cy="621369"/>
      </dsp:txXfrm>
    </dsp:sp>
    <dsp:sp modelId="{BAF73500-9D08-48BC-A3D7-BE5DCF7DA2A4}">
      <dsp:nvSpPr>
        <dsp:cNvPr id="0" name=""/>
        <dsp:cNvSpPr/>
      </dsp:nvSpPr>
      <dsp:spPr>
        <a:xfrm>
          <a:off x="7621860" y="3331349"/>
          <a:ext cx="266567" cy="266567"/>
        </a:xfrm>
        <a:prstGeom prst="rect">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3C17699E-F4C2-4CF9-8BC7-44E56FF97279}">
      <dsp:nvSpPr>
        <dsp:cNvPr id="0" name=""/>
        <dsp:cNvSpPr/>
      </dsp:nvSpPr>
      <dsp:spPr>
        <a:xfrm>
          <a:off x="7875866" y="3235304"/>
          <a:ext cx="3374650" cy="62136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s-CO" sz="1200" kern="1200" noProof="0" dirty="0" smtClean="0"/>
            <a:t>Nuevas Fuentes de capacidad han llegado al Mercado pero el </a:t>
          </a:r>
          <a:r>
            <a:rPr lang="es-CO" sz="1200" kern="1200" noProof="0" dirty="0" smtClean="0"/>
            <a:t>número </a:t>
          </a:r>
          <a:r>
            <a:rPr lang="es-CO" sz="1200" kern="1200" noProof="0" dirty="0" smtClean="0"/>
            <a:t>de recursos ha </a:t>
          </a:r>
          <a:r>
            <a:rPr lang="es-CO" sz="1200" kern="1200" noProof="0" dirty="0" smtClean="0"/>
            <a:t>hecho más lento </a:t>
          </a:r>
          <a:r>
            <a:rPr lang="es-CO" sz="1200" kern="1200" noProof="0" dirty="0" smtClean="0"/>
            <a:t>el proceso.</a:t>
          </a:r>
          <a:endParaRPr lang="es-CO" sz="1200" kern="1200" noProof="0" dirty="0"/>
        </a:p>
      </dsp:txBody>
      <dsp:txXfrm>
        <a:off x="7875866" y="3235304"/>
        <a:ext cx="3374650" cy="621369"/>
      </dsp:txXfrm>
    </dsp:sp>
    <dsp:sp modelId="{971B17E0-1A29-4D57-80A8-E628B7D8B60C}">
      <dsp:nvSpPr>
        <dsp:cNvPr id="0" name=""/>
        <dsp:cNvSpPr/>
      </dsp:nvSpPr>
      <dsp:spPr>
        <a:xfrm>
          <a:off x="7621860" y="3952718"/>
          <a:ext cx="266567" cy="266567"/>
        </a:xfrm>
        <a:prstGeom prst="rect">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ACB2A30-3C3C-4733-89CA-B3DE99EBBE6E}">
      <dsp:nvSpPr>
        <dsp:cNvPr id="0" name=""/>
        <dsp:cNvSpPr/>
      </dsp:nvSpPr>
      <dsp:spPr>
        <a:xfrm>
          <a:off x="7875866" y="3856674"/>
          <a:ext cx="3374650" cy="62136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s-CO" sz="1200" kern="1200" noProof="0" dirty="0" smtClean="0"/>
            <a:t>Reaseguradores están evaluando su posición y esto </a:t>
          </a:r>
          <a:r>
            <a:rPr lang="es-CO" sz="1200" kern="1200" noProof="0" dirty="0" smtClean="0"/>
            <a:t>está </a:t>
          </a:r>
          <a:r>
            <a:rPr lang="es-CO" sz="1200" kern="1200" noProof="0" dirty="0" smtClean="0"/>
            <a:t>creando retrasos en procesos de renovación.</a:t>
          </a:r>
          <a:endParaRPr lang="es-CO" sz="1200" kern="1200" noProof="0" dirty="0"/>
        </a:p>
      </dsp:txBody>
      <dsp:txXfrm>
        <a:off x="7875866" y="3856674"/>
        <a:ext cx="3374650" cy="62136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7F9EA50-C23E-4E12-B2C5-AEAE50617F9B}">
      <dsp:nvSpPr>
        <dsp:cNvPr id="0" name=""/>
        <dsp:cNvSpPr/>
      </dsp:nvSpPr>
      <dsp:spPr>
        <a:xfrm>
          <a:off x="3613140" y="257165"/>
          <a:ext cx="1953555" cy="1953555"/>
        </a:xfrm>
        <a:prstGeom prst="pieWedg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lvl="0" algn="ctr" defTabSz="711200">
            <a:lnSpc>
              <a:spcPct val="90000"/>
            </a:lnSpc>
            <a:spcBef>
              <a:spcPct val="0"/>
            </a:spcBef>
            <a:spcAft>
              <a:spcPct val="35000"/>
            </a:spcAft>
          </a:pPr>
          <a:r>
            <a:rPr lang="es-CO" sz="1600" kern="1200" noProof="0" dirty="0" err="1" smtClean="0"/>
            <a:t>Timing</a:t>
          </a:r>
          <a:r>
            <a:rPr lang="es-CO" sz="1600" kern="1200" noProof="0" dirty="0" smtClean="0"/>
            <a:t> de Renovación</a:t>
          </a:r>
          <a:endParaRPr lang="es-CO" sz="1600" kern="1200" noProof="0" dirty="0"/>
        </a:p>
      </dsp:txBody>
      <dsp:txXfrm>
        <a:off x="4185323" y="829348"/>
        <a:ext cx="1381372" cy="1381372"/>
      </dsp:txXfrm>
    </dsp:sp>
    <dsp:sp modelId="{CC07A674-3DEA-444B-872D-F5CC289F529B}">
      <dsp:nvSpPr>
        <dsp:cNvPr id="0" name=""/>
        <dsp:cNvSpPr/>
      </dsp:nvSpPr>
      <dsp:spPr>
        <a:xfrm rot="5400000">
          <a:off x="5656929" y="257165"/>
          <a:ext cx="1953555" cy="1953555"/>
        </a:xfrm>
        <a:prstGeom prst="pieWedg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lvl="0" algn="ctr" defTabSz="711200">
            <a:lnSpc>
              <a:spcPct val="90000"/>
            </a:lnSpc>
            <a:spcBef>
              <a:spcPct val="0"/>
            </a:spcBef>
            <a:spcAft>
              <a:spcPct val="35000"/>
            </a:spcAft>
          </a:pPr>
          <a:r>
            <a:rPr lang="es-CO" sz="1600" kern="1200" noProof="0" dirty="0" smtClean="0"/>
            <a:t>Legislación de Paraísos Fiscales EU</a:t>
          </a:r>
          <a:endParaRPr lang="es-CO" sz="1600" kern="1200" noProof="0" dirty="0"/>
        </a:p>
      </dsp:txBody>
      <dsp:txXfrm rot="-5400000">
        <a:off x="5656929" y="829348"/>
        <a:ext cx="1381372" cy="1381372"/>
      </dsp:txXfrm>
    </dsp:sp>
    <dsp:sp modelId="{253F6656-0DE0-492E-9D7B-CD95A0436DC6}">
      <dsp:nvSpPr>
        <dsp:cNvPr id="0" name=""/>
        <dsp:cNvSpPr/>
      </dsp:nvSpPr>
      <dsp:spPr>
        <a:xfrm rot="10800000">
          <a:off x="5656929" y="2300954"/>
          <a:ext cx="1953555" cy="1953555"/>
        </a:xfrm>
        <a:prstGeom prst="pieWedg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lvl="0" algn="ctr" defTabSz="711200">
            <a:lnSpc>
              <a:spcPct val="90000"/>
            </a:lnSpc>
            <a:spcBef>
              <a:spcPct val="0"/>
            </a:spcBef>
            <a:spcAft>
              <a:spcPct val="35000"/>
            </a:spcAft>
          </a:pPr>
          <a:r>
            <a:rPr lang="es-CO" sz="1600" kern="1200" noProof="0" dirty="0" smtClean="0"/>
            <a:t>ESG en el horizonte</a:t>
          </a:r>
          <a:endParaRPr lang="es-CO" sz="1600" kern="1200" noProof="0" dirty="0"/>
        </a:p>
      </dsp:txBody>
      <dsp:txXfrm rot="10800000">
        <a:off x="5656929" y="2300954"/>
        <a:ext cx="1381372" cy="1381372"/>
      </dsp:txXfrm>
    </dsp:sp>
    <dsp:sp modelId="{952138F3-D74E-4B1B-8116-5A2A90963491}">
      <dsp:nvSpPr>
        <dsp:cNvPr id="0" name=""/>
        <dsp:cNvSpPr/>
      </dsp:nvSpPr>
      <dsp:spPr>
        <a:xfrm rot="16200000">
          <a:off x="3613140" y="2300954"/>
          <a:ext cx="1953555" cy="1953555"/>
        </a:xfrm>
        <a:prstGeom prst="pieWedg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lvl="0" algn="ctr" defTabSz="711200">
            <a:lnSpc>
              <a:spcPct val="90000"/>
            </a:lnSpc>
            <a:spcBef>
              <a:spcPct val="0"/>
            </a:spcBef>
            <a:spcAft>
              <a:spcPct val="35000"/>
            </a:spcAft>
          </a:pPr>
          <a:r>
            <a:rPr lang="es-CO" sz="1600" kern="1200" noProof="0" dirty="0" smtClean="0"/>
            <a:t>Tendencias de Regulación</a:t>
          </a:r>
          <a:endParaRPr lang="es-CO" sz="1600" kern="1200" noProof="0" dirty="0"/>
        </a:p>
      </dsp:txBody>
      <dsp:txXfrm rot="5400000">
        <a:off x="4185323" y="2300954"/>
        <a:ext cx="1381372" cy="1381372"/>
      </dsp:txXfrm>
    </dsp:sp>
    <dsp:sp modelId="{8CE41E1D-C822-4653-B19D-8B19B2DB3807}">
      <dsp:nvSpPr>
        <dsp:cNvPr id="0" name=""/>
        <dsp:cNvSpPr/>
      </dsp:nvSpPr>
      <dsp:spPr>
        <a:xfrm>
          <a:off x="5274564" y="1849786"/>
          <a:ext cx="674495" cy="586517"/>
        </a:xfrm>
        <a:prstGeom prst="circularArrow">
          <a:avLst/>
        </a:prstGeom>
        <a:solidFill>
          <a:schemeClr val="accent1">
            <a:tint val="6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BF08541-9398-4641-A9AF-86C494BB8A23}">
      <dsp:nvSpPr>
        <dsp:cNvPr id="0" name=""/>
        <dsp:cNvSpPr/>
      </dsp:nvSpPr>
      <dsp:spPr>
        <a:xfrm rot="10800000">
          <a:off x="5274564" y="2075370"/>
          <a:ext cx="674495" cy="586517"/>
        </a:xfrm>
        <a:prstGeom prst="circularArrow">
          <a:avLst/>
        </a:prstGeom>
        <a:solidFill>
          <a:schemeClr val="accent1">
            <a:tint val="6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SquareAccentList">
  <dgm:title val=""/>
  <dgm:desc val=""/>
  <dgm:catLst>
    <dgm:cat type="list" pri="5500"/>
  </dgm:catLst>
  <dgm:samp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23">
          <dgm:prSet phldr="1"/>
        </dgm:pt>
      </dgm:ptLst>
      <dgm:cxnLst>
        <dgm:cxn modelId="1" srcId="0" destId="10" srcOrd="0" destOrd="0"/>
        <dgm:cxn modelId="2" srcId="10" destId="11" srcOrd="0" destOrd="0"/>
        <dgm:cxn modelId="3" srcId="10" destId="12" srcOrd="1" destOrd="0"/>
        <dgm:cxn modelId="4" srcId="10" destId="13" srcOrd="2" destOrd="0"/>
        <dgm:cxn modelId="5" srcId="0" destId="20" srcOrd="0" destOrd="0"/>
        <dgm:cxn modelId="6" srcId="20" destId="21" srcOrd="0" destOrd="0"/>
        <dgm:cxn modelId="7" srcId="20" destId="22" srcOrd="1" destOrd="0"/>
        <dgm:cxn modelId="8" srcId="20" destId="23" srcOrd="2" destOrd="0"/>
      </dgm:cxnLst>
      <dgm:bg/>
      <dgm:whole/>
    </dgm:dataModel>
  </dgm:sampData>
  <dgm:style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23">
          <dgm:prSet phldr="1"/>
        </dgm:pt>
      </dgm:ptLst>
      <dgm:cxnLst>
        <dgm:cxn modelId="1" srcId="0" destId="10" srcOrd="0" destOrd="0"/>
        <dgm:cxn modelId="2" srcId="10" destId="11" srcOrd="0" destOrd="0"/>
        <dgm:cxn modelId="3" srcId="10" destId="12" srcOrd="1" destOrd="0"/>
        <dgm:cxn modelId="4" srcId="10" destId="13" srcOrd="2" destOrd="0"/>
        <dgm:cxn modelId="5" srcId="0" destId="20" srcOrd="0" destOrd="0"/>
        <dgm:cxn modelId="6" srcId="20" destId="21" srcOrd="0" destOrd="0"/>
        <dgm:cxn modelId="7" srcId="20" destId="22" srcOrd="1" destOrd="0"/>
        <dgm:cxn modelId="8" srcId="20" destId="23" srcOrd="2"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23">
          <dgm:prSet phldr="1"/>
        </dgm:pt>
      </dgm:ptLst>
      <dgm:cxnLst>
        <dgm:cxn modelId="1" srcId="0" destId="10" srcOrd="0" destOrd="0"/>
        <dgm:cxn modelId="2" srcId="10" destId="11" srcOrd="0" destOrd="0"/>
        <dgm:cxn modelId="3" srcId="10" destId="12" srcOrd="1" destOrd="0"/>
        <dgm:cxn modelId="4" srcId="10" destId="13" srcOrd="2" destOrd="0"/>
        <dgm:cxn modelId="5" srcId="0" destId="20" srcOrd="0" destOrd="0"/>
        <dgm:cxn modelId="6" srcId="20" destId="21" srcOrd="0" destOrd="0"/>
        <dgm:cxn modelId="7" srcId="20" destId="22" srcOrd="1" destOrd="0"/>
        <dgm:cxn modelId="8" srcId="20" destId="23" srcOrd="2" destOrd="0"/>
      </dgm:cxnLst>
      <dgm:bg/>
      <dgm:whole/>
    </dgm:dataModel>
  </dgm:clrData>
  <dgm:layoutNode name="layout">
    <dgm:varLst>
      <dgm:chMax/>
      <dgm:chPref/>
      <dgm:dir/>
      <dgm:resizeHandles/>
    </dgm:varLst>
    <dgm:choose name="Name0">
      <dgm:if name="Name1" func="var" arg="dir" op="equ" val="norm">
        <dgm:alg type="hierChild">
          <dgm:param type="linDir" val="fromL"/>
          <dgm:param type="vertAlign" val="t"/>
          <dgm:param type="nodeVertAlign" val="t"/>
          <dgm:param type="horzAlign" val="ctr"/>
          <dgm:param type="fallback" val="1D"/>
        </dgm:alg>
      </dgm:if>
      <dgm:else name="Name2">
        <dgm:alg type="hierChild">
          <dgm:param type="linDir" val="fromR"/>
          <dgm:param type="vertAlign" val="t"/>
          <dgm:param type="nodeVertAlign" val="t"/>
          <dgm:param type="horzAlign" val="ctr"/>
          <dgm:param type="fallback" val="1D"/>
        </dgm:alg>
      </dgm:else>
    </dgm:choose>
    <dgm:shape xmlns:r="http://schemas.openxmlformats.org/officeDocument/2006/relationships" r:blip="">
      <dgm:adjLst/>
    </dgm:shape>
    <dgm:presOf/>
    <dgm:constrLst>
      <dgm:constr type="primFontSz" for="des" forName="Parent" op="equ" val="65"/>
      <dgm:constr type="primFontSz" for="des" forName="Child" op="equ" val="65"/>
      <dgm:constr type="primFontSz" for="des" forName="Child" refType="primFontSz" refFor="des" refForName="Parent" op="lte"/>
      <dgm:constr type="w" for="des" forName="rootComposite" refType="h" refFor="des" refForName="rootComposite" fact="3.0396"/>
      <dgm:constr type="h" for="des" forName="rootComposite" refType="h"/>
      <dgm:constr type="w" for="des" forName="childComposite" refType="w" refFor="des" refForName="rootComposite"/>
      <dgm:constr type="h" for="des" forName="childComposite" refType="h" refFor="des" refForName="rootComposite" fact="0.5205"/>
      <dgm:constr type="sibSp" refType="w" refFor="des" refForName="rootComposite" fact="0.05"/>
      <dgm:constr type="sp" for="des" forName="root" refType="h" refFor="des" refForName="childComposite" fact="0.2855"/>
    </dgm:constrLst>
    <dgm:ruleLst/>
    <dgm:forEach name="Name3" axis="ch">
      <dgm:forEach name="Name4" axis="self" ptType="node" cnt="1">
        <dgm:layoutNode name="root">
          <dgm:varLst>
            <dgm:chMax/>
            <dgm:chPref/>
          </dgm:varLst>
          <dgm:alg type="hierRoot">
            <dgm:param type="hierAlign" val="tL"/>
          </dgm:alg>
          <dgm:shape xmlns:r="http://schemas.openxmlformats.org/officeDocument/2006/relationships" r:blip="">
            <dgm:adjLst/>
          </dgm:shape>
          <dgm:presOf/>
          <dgm:constrLst/>
          <dgm:ruleLst/>
          <dgm:layoutNode name="rootComposite">
            <dgm:varLst/>
            <dgm:alg type="composite"/>
            <dgm:shape xmlns:r="http://schemas.openxmlformats.org/officeDocument/2006/relationships" r:blip="">
              <dgm:adjLst/>
            </dgm:shape>
            <dgm:presOf axis="self" ptType="node" cnt="1"/>
            <dgm:choose name="Name5">
              <dgm:if name="Name6" func="var" arg="dir" op="equ" val="norm">
                <dgm:constrLst>
                  <dgm:constr type="l" for="ch" forName="Parent" refType="w" fact="0"/>
                  <dgm:constr type="t" for="ch" forName="Parent" refType="h" fact="0"/>
                  <dgm:constr type="w" for="ch" forName="Parent" refType="w"/>
                  <dgm:constr type="h" for="ch" forName="Parent" refType="h" fact="0.6424"/>
                  <dgm:constr type="l" for="ch" forName="ParentAccent" refType="w" fact="0"/>
                  <dgm:constr type="b" for="ch" forName="ParentAccent" refType="h"/>
                  <dgm:constr type="w" for="ch" forName="ParentAccent" refType="w"/>
                  <dgm:constr type="h" for="ch" forName="ParentAccent" refType="h" fact="0.3576"/>
                  <dgm:constr type="l" for="ch" forName="ParentSmallAccent" refType="w" fact="0"/>
                  <dgm:constr type="b" for="ch" forName="ParentSmallAccent" refType="h"/>
                  <dgm:constr type="w" for="ch" forName="ParentSmallAccent" refType="h" fact="0.2233"/>
                  <dgm:constr type="h" for="ch" forName="ParentSmallAccent" refType="h" fact="0.2233"/>
                </dgm:constrLst>
              </dgm:if>
              <dgm:else name="Name7">
                <dgm:constrLst>
                  <dgm:constr type="l" for="ch" forName="Parent" refType="w" fact="0"/>
                  <dgm:constr type="t" for="ch" forName="Parent" refType="h" fact="0"/>
                  <dgm:constr type="w" for="ch" forName="Parent" refType="w"/>
                  <dgm:constr type="h" for="ch" forName="Parent" refType="h" fact="0.6424"/>
                  <dgm:constr type="l" for="ch" forName="ParentAccent" refType="w" fact="0"/>
                  <dgm:constr type="b" for="ch" forName="ParentAccent" refType="h"/>
                  <dgm:constr type="w" for="ch" forName="ParentAccent" refType="w"/>
                  <dgm:constr type="h" for="ch" forName="ParentAccent" refType="h" fact="0.3576"/>
                  <dgm:constr type="r" for="ch" forName="ParentSmallAccent" refType="w"/>
                  <dgm:constr type="b" for="ch" forName="ParentSmallAccent" refType="h"/>
                  <dgm:constr type="w" for="ch" forName="ParentSmallAccent" refType="h" fact="0.2233"/>
                  <dgm:constr type="h" for="ch" forName="ParentSmallAccent" refType="h" fact="0.2233"/>
                </dgm:constrLst>
              </dgm:else>
            </dgm:choose>
            <dgm:ruleLst/>
            <dgm:layoutNode name="ParentAccent" styleLbl="alignNode1">
              <dgm:alg type="sp"/>
              <dgm:shape xmlns:r="http://schemas.openxmlformats.org/officeDocument/2006/relationships" type="rect" r:blip="">
                <dgm:adjLst/>
              </dgm:shape>
              <dgm:presOf/>
            </dgm:layoutNode>
            <dgm:layoutNode name="ParentSmallAccent" styleLbl="fgAcc1">
              <dgm:alg type="sp"/>
              <dgm:shape xmlns:r="http://schemas.openxmlformats.org/officeDocument/2006/relationships" type="rect" r:blip="">
                <dgm:adjLst/>
              </dgm:shape>
              <dgm:presOf/>
            </dgm:layoutNode>
            <dgm:layoutNode name="Parent" styleLbl="revTx">
              <dgm:varLst>
                <dgm:chMax/>
                <dgm:chPref val="4"/>
                <dgm:bulletEnabled val="1"/>
              </dgm:varLst>
              <dgm:choose name="Name8">
                <dgm:if name="Name9" func="var" arg="dir" op="equ" val="norm">
                  <dgm:alg type="tx">
                    <dgm:param type="txAnchorVertCh" val="mid"/>
                    <dgm:param type="parTxLTRAlign" val="l"/>
                  </dgm:alg>
                </dgm:if>
                <dgm:else name="Name10">
                  <dgm:alg type="tx">
                    <dgm:param type="txAnchorVertCh" val="mid"/>
                    <dgm:param type="parTxLTRAlign" val="r"/>
                  </dgm:alg>
                </dgm:else>
              </dgm:choose>
              <dgm:shape xmlns:r="http://schemas.openxmlformats.org/officeDocument/2006/relationships" type="rect" r:blip="">
                <dgm:adjLst/>
              </dgm:shape>
              <dgm:presOf axis="self" ptType="node"/>
              <dgm:constrLst>
                <dgm:constr type="tMarg" refType="primFontSz" fact="0.1"/>
                <dgm:constr type="bMarg" refType="primFontSz" fact="0.1"/>
                <dgm:constr type="lMarg" refType="primFontSz" fact="0.15"/>
                <dgm:constr type="rMarg" refType="primFontSz" fact="0.15"/>
              </dgm:constrLst>
              <dgm:ruleLst>
                <dgm:rule type="primFontSz" val="5" fact="NaN" max="NaN"/>
                <dgm:rule type="primFontSz" val="65" fact="NaN" max="NaN"/>
              </dgm:ruleLst>
            </dgm:layoutNode>
          </dgm:layoutNode>
          <dgm:layoutNode name="childShape">
            <dgm:varLst>
              <dgm:chMax val="0"/>
              <dgm:chPref val="0"/>
            </dgm:varLst>
            <dgm:alg type="hierChild">
              <dgm:param type="chAlign" val="r"/>
              <dgm:param type="linDir" val="fromT"/>
              <dgm:param type="fallback" val="2D"/>
            </dgm:alg>
            <dgm:shape xmlns:r="http://schemas.openxmlformats.org/officeDocument/2006/relationships" r:blip="">
              <dgm:adjLst/>
            </dgm:shape>
            <dgm:presOf/>
            <dgm:constrLst/>
            <dgm:ruleLst/>
            <dgm:forEach name="Name11" axis="ch">
              <dgm:forEach name="Name12" axis="self" ptType="node">
                <dgm:layoutNode name="childComposite">
                  <dgm:varLst>
                    <dgm:chMax val="0"/>
                    <dgm:chPref val="0"/>
                  </dgm:varLst>
                  <dgm:alg type="composite"/>
                  <dgm:shape xmlns:r="http://schemas.openxmlformats.org/officeDocument/2006/relationships" r:blip="">
                    <dgm:adjLst/>
                  </dgm:shape>
                  <dgm:presOf/>
                  <dgm:choose name="Name13">
                    <dgm:if name="Name14" func="var" arg="dir" op="equ" val="norm">
                      <dgm:constrLst>
                        <dgm:constr type="w" for="ch" forName="ChildAccent" refType="h" fact="0.429"/>
                        <dgm:constr type="h" for="ch" forName="ChildAccent" refType="h" fact="0.429"/>
                        <dgm:constr type="l" for="ch" forName="ChildAccent" refType="w" fact="0"/>
                        <dgm:constr type="t" for="ch" forName="ChildAccent" refType="h" fact="0.2855"/>
                        <dgm:constr type="w" for="ch" forName="Child" refType="w" fact="0.93"/>
                        <dgm:constr type="h" for="ch" forName="Child" refType="h"/>
                        <dgm:constr type="l" for="ch" forName="Child" refType="w" fact="0.07"/>
                        <dgm:constr type="t" for="ch" forName="Child" refType="h" fact="0"/>
                      </dgm:constrLst>
                    </dgm:if>
                    <dgm:else name="Name15">
                      <dgm:constrLst>
                        <dgm:constr type="w" for="ch" forName="ChildAccent" refType="h" fact="0.429"/>
                        <dgm:constr type="h" for="ch" forName="ChildAccent" refType="h" fact="0.429"/>
                        <dgm:constr type="r" for="ch" forName="ChildAccent" refType="w"/>
                        <dgm:constr type="t" for="ch" forName="ChildAccent" refType="h" fact="0.2855"/>
                        <dgm:constr type="w" for="ch" forName="Child" refType="w" fact="0.93"/>
                        <dgm:constr type="h" for="ch" forName="Child" refType="h"/>
                        <dgm:constr type="r" for="ch" forName="Child" refType="w" fact="0.93"/>
                        <dgm:constr type="t" for="ch" forName="Child" refType="h" fact="0"/>
                      </dgm:constrLst>
                    </dgm:else>
                  </dgm:choose>
                  <dgm:ruleLst/>
                  <dgm:layoutNode name="ChildAccent" styleLbl="solidFgAcc1">
                    <dgm:alg type="sp"/>
                    <dgm:shape xmlns:r="http://schemas.openxmlformats.org/officeDocument/2006/relationships" type="rect" r:blip="">
                      <dgm:adjLst/>
                    </dgm:shape>
                    <dgm:presOf/>
                  </dgm:layoutNode>
                  <dgm:layoutNode name="Child" styleLbl="revTx">
                    <dgm:varLst>
                      <dgm:chMax val="0"/>
                      <dgm:chPref val="0"/>
                      <dgm:bulletEnabled val="1"/>
                    </dgm:varLst>
                    <dgm:choose name="Name16">
                      <dgm:if name="Name17" func="var" arg="dir" op="equ" val="norm">
                        <dgm:alg type="tx">
                          <dgm:param type="txAnchorVertCh" val="mid"/>
                          <dgm:param type="parTxLTRAlign" val="l"/>
                        </dgm:alg>
                      </dgm:if>
                      <dgm:else name="Name18">
                        <dgm:alg type="tx">
                          <dgm:param type="txAnchorVertCh" val="mid"/>
                          <dgm:param type="parTxLTRAlign" val="r"/>
                        </dgm:alg>
                      </dgm:else>
                    </dgm:choose>
                    <dgm:shape xmlns:r="http://schemas.openxmlformats.org/officeDocument/2006/relationships" type="rect" r:blip="">
                      <dgm:adjLst/>
                    </dgm:shape>
                    <dgm:presOf axis="desOrSelf" ptType="node node"/>
                    <dgm:ruleLst>
                      <dgm:rule type="primFontSz" val="5" fact="NaN" max="NaN"/>
                    </dgm:ruleLst>
                  </dgm:layoutNode>
                </dgm:layoutNode>
              </dgm:forEach>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cycle4">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C035820-9D73-4669-BBF1-6D172D08A633}" type="datetimeFigureOut">
              <a:rPr lang="en-US" smtClean="0"/>
              <a:t>9/2/2022</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D332DC72-CBF7-4F22-94B6-8B2A19372883}" type="slidenum">
              <a:rPr lang="en-US" smtClean="0"/>
              <a:t>‹#›</a:t>
            </a:fld>
            <a:endParaRPr lang="en-US" dirty="0"/>
          </a:p>
        </p:txBody>
      </p:sp>
    </p:spTree>
    <p:extLst>
      <p:ext uri="{BB962C8B-B14F-4D97-AF65-F5344CB8AC3E}">
        <p14:creationId xmlns:p14="http://schemas.microsoft.com/office/powerpoint/2010/main" val="2227014183"/>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BD20499-D716-43F6-804A-14F2B893E72F}" type="datetimeFigureOut">
              <a:rPr lang="en-US" smtClean="0"/>
              <a:t>9/2/2022</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A88592D-D948-4097-8DFA-13323059B7D8}" type="slidenum">
              <a:rPr lang="en-US" smtClean="0"/>
              <a:t>‹#›</a:t>
            </a:fld>
            <a:endParaRPr lang="en-US" dirty="0"/>
          </a:p>
        </p:txBody>
      </p:sp>
    </p:spTree>
    <p:extLst>
      <p:ext uri="{BB962C8B-B14F-4D97-AF65-F5344CB8AC3E}">
        <p14:creationId xmlns:p14="http://schemas.microsoft.com/office/powerpoint/2010/main" val="3409348630"/>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sert Drivers of Confidence</a:t>
            </a:r>
            <a:r>
              <a:rPr lang="en-US" baseline="0" dirty="0"/>
              <a:t> and Drivers of Uncertainty Graphic </a:t>
            </a:r>
            <a:endParaRPr lang="en-US" dirty="0"/>
          </a:p>
        </p:txBody>
      </p:sp>
      <p:sp>
        <p:nvSpPr>
          <p:cNvPr id="4" name="Slide Number Placeholder 3"/>
          <p:cNvSpPr>
            <a:spLocks noGrp="1"/>
          </p:cNvSpPr>
          <p:nvPr>
            <p:ph type="sldNum" sz="quarter" idx="10"/>
          </p:nvPr>
        </p:nvSpPr>
        <p:spPr/>
        <p:txBody>
          <a:bodyPr/>
          <a:lstStyle/>
          <a:p>
            <a:fld id="{EA88592D-D948-4097-8DFA-13323059B7D8}" type="slidenum">
              <a:rPr lang="en-US" smtClean="0"/>
              <a:t>2</a:t>
            </a:fld>
            <a:endParaRPr lang="en-US"/>
          </a:p>
        </p:txBody>
      </p:sp>
    </p:spTree>
    <p:extLst>
      <p:ext uri="{BB962C8B-B14F-4D97-AF65-F5344CB8AC3E}">
        <p14:creationId xmlns:p14="http://schemas.microsoft.com/office/powerpoint/2010/main" val="42246125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A88592D-D948-4097-8DFA-13323059B7D8}" type="slidenum">
              <a:rPr lang="en-US" smtClean="0"/>
              <a:t>6</a:t>
            </a:fld>
            <a:endParaRPr lang="en-US" dirty="0"/>
          </a:p>
        </p:txBody>
      </p:sp>
    </p:spTree>
    <p:extLst>
      <p:ext uri="{BB962C8B-B14F-4D97-AF65-F5344CB8AC3E}">
        <p14:creationId xmlns:p14="http://schemas.microsoft.com/office/powerpoint/2010/main" val="18051446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A88592D-D948-4097-8DFA-13323059B7D8}" type="slidenum">
              <a:rPr lang="en-US" smtClean="0"/>
              <a:t>7</a:t>
            </a:fld>
            <a:endParaRPr lang="en-US" dirty="0"/>
          </a:p>
        </p:txBody>
      </p:sp>
    </p:spTree>
    <p:extLst>
      <p:ext uri="{BB962C8B-B14F-4D97-AF65-F5344CB8AC3E}">
        <p14:creationId xmlns:p14="http://schemas.microsoft.com/office/powerpoint/2010/main" val="8057545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A88592D-D948-4097-8DFA-13323059B7D8}" type="slidenum">
              <a:rPr lang="en-US" smtClean="0"/>
              <a:t>8</a:t>
            </a:fld>
            <a:endParaRPr lang="en-US" dirty="0"/>
          </a:p>
        </p:txBody>
      </p:sp>
    </p:spTree>
    <p:extLst>
      <p:ext uri="{BB962C8B-B14F-4D97-AF65-F5344CB8AC3E}">
        <p14:creationId xmlns:p14="http://schemas.microsoft.com/office/powerpoint/2010/main" val="106810447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6.emf"/><Relationship Id="rId4" Type="http://schemas.openxmlformats.org/officeDocument/2006/relationships/oleObject" Target="../embeddings/oleObject10.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5.emf"/><Relationship Id="rId4" Type="http://schemas.openxmlformats.org/officeDocument/2006/relationships/oleObject" Target="../embeddings/oleObject11.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11.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5.emf"/><Relationship Id="rId4" Type="http://schemas.openxmlformats.org/officeDocument/2006/relationships/oleObject" Target="../embeddings/oleObject12.bin"/></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15.vml"/><Relationship Id="rId5" Type="http://schemas.openxmlformats.org/officeDocument/2006/relationships/image" Target="../media/image8.emf"/><Relationship Id="rId4" Type="http://schemas.openxmlformats.org/officeDocument/2006/relationships/oleObject" Target="../embeddings/oleObject13.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vmlDrawing" Target="../drawings/vmlDrawing16.vml"/><Relationship Id="rId5" Type="http://schemas.openxmlformats.org/officeDocument/2006/relationships/image" Target="../media/image4.emf"/><Relationship Id="rId4" Type="http://schemas.openxmlformats.org/officeDocument/2006/relationships/oleObject" Target="../embeddings/oleObject14.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vmlDrawing" Target="../drawings/vmlDrawing17.vml"/><Relationship Id="rId5" Type="http://schemas.openxmlformats.org/officeDocument/2006/relationships/image" Target="../media/image4.emf"/><Relationship Id="rId4" Type="http://schemas.openxmlformats.org/officeDocument/2006/relationships/oleObject" Target="../embeddings/oleObject14.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vmlDrawing" Target="../drawings/vmlDrawing18.vml"/><Relationship Id="rId5" Type="http://schemas.openxmlformats.org/officeDocument/2006/relationships/image" Target="../media/image4.emf"/><Relationship Id="rId4" Type="http://schemas.openxmlformats.org/officeDocument/2006/relationships/oleObject" Target="../embeddings/oleObject15.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vmlDrawing" Target="../drawings/vmlDrawing19.vml"/><Relationship Id="rId5" Type="http://schemas.openxmlformats.org/officeDocument/2006/relationships/image" Target="../media/image5.emf"/><Relationship Id="rId4" Type="http://schemas.openxmlformats.org/officeDocument/2006/relationships/oleObject" Target="../embeddings/oleObject16.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vmlDrawing" Target="../drawings/vmlDrawing20.vml"/><Relationship Id="rId5" Type="http://schemas.openxmlformats.org/officeDocument/2006/relationships/image" Target="../media/image5.emf"/><Relationship Id="rId4" Type="http://schemas.openxmlformats.org/officeDocument/2006/relationships/oleObject" Target="../embeddings/oleObject17.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vmlDrawing" Target="../drawings/vmlDrawing21.vml"/><Relationship Id="rId5" Type="http://schemas.openxmlformats.org/officeDocument/2006/relationships/image" Target="../media/image5.emf"/><Relationship Id="rId4" Type="http://schemas.openxmlformats.org/officeDocument/2006/relationships/oleObject" Target="../embeddings/oleObject18.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22.vml"/><Relationship Id="rId5" Type="http://schemas.openxmlformats.org/officeDocument/2006/relationships/image" Target="../media/image5.emf"/><Relationship Id="rId4" Type="http://schemas.openxmlformats.org/officeDocument/2006/relationships/oleObject" Target="../embeddings/oleObject19.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vmlDrawing" Target="../drawings/vmlDrawing23.vml"/><Relationship Id="rId5" Type="http://schemas.openxmlformats.org/officeDocument/2006/relationships/image" Target="../media/image9.emf"/><Relationship Id="rId4" Type="http://schemas.openxmlformats.org/officeDocument/2006/relationships/oleObject" Target="../embeddings/oleObject20.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vmlDrawing" Target="../drawings/vmlDrawing24.vml"/><Relationship Id="rId5" Type="http://schemas.openxmlformats.org/officeDocument/2006/relationships/image" Target="../media/image9.emf"/><Relationship Id="rId4" Type="http://schemas.openxmlformats.org/officeDocument/2006/relationships/oleObject" Target="../embeddings/oleObject21.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vmlDrawing" Target="../drawings/vmlDrawing25.vml"/><Relationship Id="rId5" Type="http://schemas.openxmlformats.org/officeDocument/2006/relationships/image" Target="../media/image9.emf"/><Relationship Id="rId4" Type="http://schemas.openxmlformats.org/officeDocument/2006/relationships/oleObject" Target="../embeddings/oleObject22.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26.vml"/><Relationship Id="rId5" Type="http://schemas.openxmlformats.org/officeDocument/2006/relationships/image" Target="../media/image9.emf"/><Relationship Id="rId4" Type="http://schemas.openxmlformats.org/officeDocument/2006/relationships/oleObject" Target="../embeddings/oleObject23.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27.vml"/><Relationship Id="rId5" Type="http://schemas.openxmlformats.org/officeDocument/2006/relationships/image" Target="../media/image9.emf"/><Relationship Id="rId4" Type="http://schemas.openxmlformats.org/officeDocument/2006/relationships/oleObject" Target="../embeddings/oleObject23.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28.vml"/><Relationship Id="rId5" Type="http://schemas.openxmlformats.org/officeDocument/2006/relationships/image" Target="../media/image9.emf"/><Relationship Id="rId4" Type="http://schemas.openxmlformats.org/officeDocument/2006/relationships/oleObject" Target="../embeddings/oleObject23.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29.vml"/><Relationship Id="rId5" Type="http://schemas.openxmlformats.org/officeDocument/2006/relationships/image" Target="../media/image8.emf"/><Relationship Id="rId4" Type="http://schemas.openxmlformats.org/officeDocument/2006/relationships/oleObject" Target="../embeddings/oleObject24.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vmlDrawing" Target="../drawings/vmlDrawing30.vml"/><Relationship Id="rId5" Type="http://schemas.openxmlformats.org/officeDocument/2006/relationships/image" Target="../media/image10.emf"/><Relationship Id="rId4" Type="http://schemas.openxmlformats.org/officeDocument/2006/relationships/oleObject" Target="../embeddings/oleObject25.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vmlDrawing" Target="../drawings/vmlDrawing31.vml"/><Relationship Id="rId5" Type="http://schemas.openxmlformats.org/officeDocument/2006/relationships/image" Target="../media/image10.emf"/><Relationship Id="rId4" Type="http://schemas.openxmlformats.org/officeDocument/2006/relationships/oleObject" Target="../embeddings/oleObject26.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vmlDrawing" Target="../drawings/vmlDrawing32.vml"/><Relationship Id="rId6" Type="http://schemas.openxmlformats.org/officeDocument/2006/relationships/image" Target="../media/image10.emf"/><Relationship Id="rId5" Type="http://schemas.openxmlformats.org/officeDocument/2006/relationships/oleObject" Target="../embeddings/oleObject26.bin"/><Relationship Id="rId4" Type="http://schemas.openxmlformats.org/officeDocument/2006/relationships/image" Target="../media/image11.png"/></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vmlDrawing" Target="../drawings/vmlDrawing33.vml"/><Relationship Id="rId5" Type="http://schemas.openxmlformats.org/officeDocument/2006/relationships/image" Target="../media/image8.emf"/><Relationship Id="rId4" Type="http://schemas.openxmlformats.org/officeDocument/2006/relationships/oleObject" Target="../embeddings/oleObject27.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vmlDrawing" Target="../drawings/vmlDrawing34.vml"/><Relationship Id="rId5" Type="http://schemas.openxmlformats.org/officeDocument/2006/relationships/image" Target="../media/image4.emf"/><Relationship Id="rId4" Type="http://schemas.openxmlformats.org/officeDocument/2006/relationships/oleObject" Target="../embeddings/oleObject28.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vmlDrawing" Target="../drawings/vmlDrawing35.vml"/><Relationship Id="rId5" Type="http://schemas.openxmlformats.org/officeDocument/2006/relationships/image" Target="../media/image4.emf"/><Relationship Id="rId4" Type="http://schemas.openxmlformats.org/officeDocument/2006/relationships/oleObject" Target="../embeddings/oleObject29.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36.vml"/><Relationship Id="rId6" Type="http://schemas.openxmlformats.org/officeDocument/2006/relationships/image" Target="../media/image4.emf"/><Relationship Id="rId5" Type="http://schemas.openxmlformats.org/officeDocument/2006/relationships/oleObject" Target="../embeddings/oleObject29.bin"/><Relationship Id="rId4" Type="http://schemas.openxmlformats.org/officeDocument/2006/relationships/image" Target="../media/image11.png"/></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8.xml"/><Relationship Id="rId1" Type="http://schemas.openxmlformats.org/officeDocument/2006/relationships/vmlDrawing" Target="../drawings/vmlDrawing37.vml"/><Relationship Id="rId5" Type="http://schemas.openxmlformats.org/officeDocument/2006/relationships/image" Target="../media/image4.emf"/><Relationship Id="rId4" Type="http://schemas.openxmlformats.org/officeDocument/2006/relationships/oleObject" Target="../embeddings/oleObject28.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vmlDrawing" Target="../drawings/vmlDrawing38.vml"/><Relationship Id="rId5" Type="http://schemas.openxmlformats.org/officeDocument/2006/relationships/image" Target="../media/image4.emf"/><Relationship Id="rId4" Type="http://schemas.openxmlformats.org/officeDocument/2006/relationships/oleObject" Target="../embeddings/oleObject28.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0.xml"/><Relationship Id="rId1" Type="http://schemas.openxmlformats.org/officeDocument/2006/relationships/vmlDrawing" Target="../drawings/vmlDrawing39.vml"/><Relationship Id="rId6" Type="http://schemas.openxmlformats.org/officeDocument/2006/relationships/image" Target="../media/image4.emf"/><Relationship Id="rId5" Type="http://schemas.openxmlformats.org/officeDocument/2006/relationships/oleObject" Target="../embeddings/oleObject28.bin"/><Relationship Id="rId4" Type="http://schemas.openxmlformats.org/officeDocument/2006/relationships/image" Target="../media/image11.png"/></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5.emf"/><Relationship Id="rId4" Type="http://schemas.openxmlformats.org/officeDocument/2006/relationships/oleObject" Target="../embeddings/oleObject4.bin"/></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vmlDrawing" Target="../drawings/vmlDrawing40.vml"/><Relationship Id="rId5" Type="http://schemas.openxmlformats.org/officeDocument/2006/relationships/image" Target="../media/image12.emf"/><Relationship Id="rId4" Type="http://schemas.openxmlformats.org/officeDocument/2006/relationships/oleObject" Target="../embeddings/oleObject30.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2.xml"/><Relationship Id="rId1" Type="http://schemas.openxmlformats.org/officeDocument/2006/relationships/vmlDrawing" Target="../drawings/vmlDrawing41.vml"/><Relationship Id="rId5" Type="http://schemas.openxmlformats.org/officeDocument/2006/relationships/image" Target="../media/image12.emf"/><Relationship Id="rId4" Type="http://schemas.openxmlformats.org/officeDocument/2006/relationships/oleObject" Target="../embeddings/oleObject31.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vmlDrawing" Target="../drawings/vmlDrawing42.vml"/><Relationship Id="rId6" Type="http://schemas.openxmlformats.org/officeDocument/2006/relationships/image" Target="../media/image12.emf"/><Relationship Id="rId5" Type="http://schemas.openxmlformats.org/officeDocument/2006/relationships/oleObject" Target="../embeddings/oleObject31.bin"/><Relationship Id="rId4" Type="http://schemas.openxmlformats.org/officeDocument/2006/relationships/image" Target="../media/image11.png"/></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4.xml"/><Relationship Id="rId1" Type="http://schemas.openxmlformats.org/officeDocument/2006/relationships/vmlDrawing" Target="../drawings/vmlDrawing43.vml"/><Relationship Id="rId5" Type="http://schemas.openxmlformats.org/officeDocument/2006/relationships/image" Target="../media/image13.emf"/><Relationship Id="rId4" Type="http://schemas.openxmlformats.org/officeDocument/2006/relationships/oleObject" Target="../embeddings/oleObject32.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5.xml"/><Relationship Id="rId1" Type="http://schemas.openxmlformats.org/officeDocument/2006/relationships/vmlDrawing" Target="../drawings/vmlDrawing44.vml"/><Relationship Id="rId6" Type="http://schemas.openxmlformats.org/officeDocument/2006/relationships/image" Target="../media/image14.png"/><Relationship Id="rId5" Type="http://schemas.openxmlformats.org/officeDocument/2006/relationships/image" Target="../media/image3.emf"/><Relationship Id="rId4" Type="http://schemas.openxmlformats.org/officeDocument/2006/relationships/oleObject" Target="../embeddings/oleObject33.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6.xml"/><Relationship Id="rId1" Type="http://schemas.openxmlformats.org/officeDocument/2006/relationships/vmlDrawing" Target="../drawings/vmlDrawing45.vml"/><Relationship Id="rId6" Type="http://schemas.openxmlformats.org/officeDocument/2006/relationships/image" Target="../media/image15.png"/><Relationship Id="rId5" Type="http://schemas.openxmlformats.org/officeDocument/2006/relationships/image" Target="../media/image3.emf"/><Relationship Id="rId4" Type="http://schemas.openxmlformats.org/officeDocument/2006/relationships/oleObject" Target="../embeddings/oleObject33.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5.png"/><Relationship Id="rId2" Type="http://schemas.openxmlformats.org/officeDocument/2006/relationships/tags" Target="../tags/tag47.xml"/><Relationship Id="rId1" Type="http://schemas.openxmlformats.org/officeDocument/2006/relationships/vmlDrawing" Target="../drawings/vmlDrawing46.vml"/><Relationship Id="rId6" Type="http://schemas.openxmlformats.org/officeDocument/2006/relationships/image" Target="../media/image3.emf"/><Relationship Id="rId5" Type="http://schemas.openxmlformats.org/officeDocument/2006/relationships/oleObject" Target="../embeddings/oleObject34.bin"/><Relationship Id="rId4" Type="http://schemas.openxmlformats.org/officeDocument/2006/relationships/image" Target="../media/image11.png"/></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8.xml"/><Relationship Id="rId1" Type="http://schemas.openxmlformats.org/officeDocument/2006/relationships/vmlDrawing" Target="../drawings/vmlDrawing47.vml"/><Relationship Id="rId5" Type="http://schemas.openxmlformats.org/officeDocument/2006/relationships/image" Target="../media/image3.emf"/><Relationship Id="rId4" Type="http://schemas.openxmlformats.org/officeDocument/2006/relationships/oleObject" Target="../embeddings/oleObject35.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vmlDrawing" Target="../drawings/vmlDrawing48.vml"/><Relationship Id="rId5" Type="http://schemas.openxmlformats.org/officeDocument/2006/relationships/image" Target="../media/image3.emf"/><Relationship Id="rId4" Type="http://schemas.openxmlformats.org/officeDocument/2006/relationships/oleObject" Target="../embeddings/oleObject35.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0.xml"/><Relationship Id="rId1" Type="http://schemas.openxmlformats.org/officeDocument/2006/relationships/vmlDrawing" Target="../drawings/vmlDrawing49.vml"/><Relationship Id="rId5" Type="http://schemas.openxmlformats.org/officeDocument/2006/relationships/image" Target="../media/image13.emf"/><Relationship Id="rId4" Type="http://schemas.openxmlformats.org/officeDocument/2006/relationships/oleObject" Target="../embeddings/oleObject36.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5.emf"/><Relationship Id="rId4" Type="http://schemas.openxmlformats.org/officeDocument/2006/relationships/oleObject" Target="../embeddings/oleObject5.bin"/></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1.xml"/><Relationship Id="rId1" Type="http://schemas.openxmlformats.org/officeDocument/2006/relationships/vmlDrawing" Target="../drawings/vmlDrawing50.vml"/><Relationship Id="rId5" Type="http://schemas.openxmlformats.org/officeDocument/2006/relationships/image" Target="../media/image3.emf"/><Relationship Id="rId4" Type="http://schemas.openxmlformats.org/officeDocument/2006/relationships/oleObject" Target="../embeddings/oleObject35.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2.xml"/><Relationship Id="rId1" Type="http://schemas.openxmlformats.org/officeDocument/2006/relationships/vmlDrawing" Target="../drawings/vmlDrawing51.vml"/><Relationship Id="rId5" Type="http://schemas.openxmlformats.org/officeDocument/2006/relationships/image" Target="../media/image13.emf"/><Relationship Id="rId4" Type="http://schemas.openxmlformats.org/officeDocument/2006/relationships/oleObject" Target="../embeddings/oleObject37.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3.xml"/><Relationship Id="rId1" Type="http://schemas.openxmlformats.org/officeDocument/2006/relationships/vmlDrawing" Target="../drawings/vmlDrawing52.vml"/><Relationship Id="rId6" Type="http://schemas.openxmlformats.org/officeDocument/2006/relationships/image" Target="../media/image2.png"/><Relationship Id="rId5" Type="http://schemas.openxmlformats.org/officeDocument/2006/relationships/image" Target="../media/image16.emf"/><Relationship Id="rId4" Type="http://schemas.openxmlformats.org/officeDocument/2006/relationships/oleObject" Target="../embeddings/oleObject38.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4.xml"/><Relationship Id="rId1" Type="http://schemas.openxmlformats.org/officeDocument/2006/relationships/vmlDrawing" Target="../drawings/vmlDrawing53.vml"/><Relationship Id="rId6" Type="http://schemas.openxmlformats.org/officeDocument/2006/relationships/image" Target="../media/image7.png"/><Relationship Id="rId5" Type="http://schemas.openxmlformats.org/officeDocument/2006/relationships/image" Target="../media/image16.emf"/><Relationship Id="rId4" Type="http://schemas.openxmlformats.org/officeDocument/2006/relationships/oleObject" Target="../embeddings/oleObject39.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55.xml"/><Relationship Id="rId1" Type="http://schemas.openxmlformats.org/officeDocument/2006/relationships/vmlDrawing" Target="../drawings/vmlDrawing54.vml"/><Relationship Id="rId6" Type="http://schemas.openxmlformats.org/officeDocument/2006/relationships/image" Target="../media/image16.emf"/><Relationship Id="rId5" Type="http://schemas.openxmlformats.org/officeDocument/2006/relationships/oleObject" Target="../embeddings/oleObject39.bin"/><Relationship Id="rId4" Type="http://schemas.openxmlformats.org/officeDocument/2006/relationships/image" Target="../media/image11.png"/></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6.xml"/><Relationship Id="rId1" Type="http://schemas.openxmlformats.org/officeDocument/2006/relationships/vmlDrawing" Target="../drawings/vmlDrawing55.vml"/><Relationship Id="rId6" Type="http://schemas.openxmlformats.org/officeDocument/2006/relationships/image" Target="../media/image2.png"/><Relationship Id="rId5" Type="http://schemas.openxmlformats.org/officeDocument/2006/relationships/image" Target="../media/image16.emf"/><Relationship Id="rId4" Type="http://schemas.openxmlformats.org/officeDocument/2006/relationships/oleObject" Target="../embeddings/oleObject40.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7.xml"/><Relationship Id="rId1" Type="http://schemas.openxmlformats.org/officeDocument/2006/relationships/vmlDrawing" Target="../drawings/vmlDrawing56.vml"/><Relationship Id="rId6" Type="http://schemas.openxmlformats.org/officeDocument/2006/relationships/image" Target="../media/image7.png"/><Relationship Id="rId5" Type="http://schemas.openxmlformats.org/officeDocument/2006/relationships/image" Target="../media/image16.emf"/><Relationship Id="rId4" Type="http://schemas.openxmlformats.org/officeDocument/2006/relationships/oleObject" Target="../embeddings/oleObject41.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58.xml"/><Relationship Id="rId1" Type="http://schemas.openxmlformats.org/officeDocument/2006/relationships/vmlDrawing" Target="../drawings/vmlDrawing57.vml"/><Relationship Id="rId6" Type="http://schemas.openxmlformats.org/officeDocument/2006/relationships/image" Target="../media/image16.emf"/><Relationship Id="rId5" Type="http://schemas.openxmlformats.org/officeDocument/2006/relationships/oleObject" Target="../embeddings/oleObject41.bin"/><Relationship Id="rId4" Type="http://schemas.openxmlformats.org/officeDocument/2006/relationships/image" Target="../media/image11.png"/></Relationships>
</file>

<file path=ppt/slideLayouts/_rels/slideLayout58.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customXml" Target="../../customXml/item9.xml"/><Relationship Id="rId7" Type="http://schemas.openxmlformats.org/officeDocument/2006/relationships/customXml" Target="../../customXml/item6.xml"/><Relationship Id="rId2" Type="http://schemas.openxmlformats.org/officeDocument/2006/relationships/customXml" Target="../../customXml/item2.xml"/><Relationship Id="rId1" Type="http://schemas.openxmlformats.org/officeDocument/2006/relationships/customXml" Target="../../customXml/item13.xml"/><Relationship Id="rId6" Type="http://schemas.openxmlformats.org/officeDocument/2006/relationships/customXml" Target="../../customXml/item3.xml"/><Relationship Id="rId11" Type="http://schemas.openxmlformats.org/officeDocument/2006/relationships/image" Target="../media/image19.png"/><Relationship Id="rId5" Type="http://schemas.openxmlformats.org/officeDocument/2006/relationships/customXml" Target="../../customXml/item12.xml"/><Relationship Id="rId10" Type="http://schemas.openxmlformats.org/officeDocument/2006/relationships/image" Target="../media/image18.png"/><Relationship Id="rId4" Type="http://schemas.openxmlformats.org/officeDocument/2006/relationships/customXml" Target="../../customXml/item7.xml"/><Relationship Id="rId9" Type="http://schemas.openxmlformats.org/officeDocument/2006/relationships/image" Target="../media/image17.png"/></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5.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5.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5.emf"/><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5.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A">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8E1ADAF-78DD-5D4E-8C31-F993DBAD59C1}"/>
              </a:ext>
            </a:extLst>
          </p:cNvPr>
          <p:cNvGraphicFramePr>
            <a:graphicFrameLocks noChangeAspect="1"/>
          </p:cNvGraphicFramePr>
          <p:nvPr>
            <p:custDataLst>
              <p:tags r:id="rId2"/>
            </p:custDataLst>
            <p:extLst>
              <p:ext uri="{D42A27DB-BD31-4B8C-83A1-F6EECF244321}">
                <p14:modId xmlns:p14="http://schemas.microsoft.com/office/powerpoint/2010/main" val="96999977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343"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F8E1ADAF-78DD-5D4E-8C31-F993DBAD59C1}"/>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ctrTitle" hasCustomPrompt="1"/>
          </p:nvPr>
        </p:nvSpPr>
        <p:spPr>
          <a:xfrm>
            <a:off x="448437" y="1765793"/>
            <a:ext cx="9365488" cy="1602882"/>
          </a:xfrm>
        </p:spPr>
        <p:txBody>
          <a:bodyPr vert="horz"/>
          <a:lstStyle>
            <a:lvl1pPr>
              <a:lnSpc>
                <a:spcPct val="90000"/>
              </a:lnSpc>
              <a:defRPr sz="6000" b="1" i="0" cap="all" baseline="0">
                <a:latin typeface="Arial Narrow" panose="020B0604020202020204" pitchFamily="34" charset="0"/>
                <a:cs typeface="Arial Narrow" panose="020B0604020202020204" pitchFamily="34" charset="0"/>
              </a:defRPr>
            </a:lvl1pPr>
          </a:lstStyle>
          <a:p>
            <a:r>
              <a:rPr lang="en-US" dirty="0"/>
              <a:t>This is a placeholder </a:t>
            </a:r>
            <a:br>
              <a:rPr lang="en-US" dirty="0"/>
            </a:br>
            <a:r>
              <a:rPr lang="en-US" dirty="0"/>
              <a:t>for main title</a:t>
            </a:r>
          </a:p>
        </p:txBody>
      </p:sp>
      <p:sp>
        <p:nvSpPr>
          <p:cNvPr id="3" name="Subtitle 2"/>
          <p:cNvSpPr>
            <a:spLocks noGrp="1"/>
          </p:cNvSpPr>
          <p:nvPr>
            <p:ph type="subTitle" idx="1" hasCustomPrompt="1"/>
          </p:nvPr>
        </p:nvSpPr>
        <p:spPr>
          <a:xfrm>
            <a:off x="462026" y="3560887"/>
            <a:ext cx="9310624" cy="807913"/>
          </a:xfrm>
        </p:spPr>
        <p:txBody>
          <a:bodyPr anchor="t"/>
          <a:lstStyle>
            <a:lvl1pPr marL="0" indent="0" algn="l">
              <a:buNone/>
              <a:defRPr sz="24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 goes here</a:t>
            </a:r>
          </a:p>
        </p:txBody>
      </p:sp>
      <p:sp>
        <p:nvSpPr>
          <p:cNvPr id="8" name="Text Placeholder 3">
            <a:extLst>
              <a:ext uri="{FF2B5EF4-FFF2-40B4-BE49-F238E27FC236}">
                <a16:creationId xmlns:a16="http://schemas.microsoft.com/office/drawing/2014/main" id="{DC5380E5-0D04-B449-9282-B817A683373F}"/>
              </a:ext>
            </a:extLst>
          </p:cNvPr>
          <p:cNvSpPr>
            <a:spLocks noGrp="1"/>
          </p:cNvSpPr>
          <p:nvPr>
            <p:ph type="body" sz="half" idx="2" hasCustomPrompt="1"/>
          </p:nvPr>
        </p:nvSpPr>
        <p:spPr>
          <a:xfrm>
            <a:off x="485775" y="4870889"/>
            <a:ext cx="7400925" cy="1038525"/>
          </a:xfrm>
        </p:spPr>
        <p:txBody>
          <a:bodyPr anchor="b" anchorCtr="0"/>
          <a:lstStyle>
            <a:lvl1pPr marL="0" marR="0" indent="0" algn="l" defTabSz="457200" rtl="0" eaLnBrk="1" fontAlgn="auto" latinLnBrk="0" hangingPunct="1">
              <a:lnSpc>
                <a:spcPct val="100000"/>
              </a:lnSpc>
              <a:spcBef>
                <a:spcPts val="0"/>
              </a:spcBef>
              <a:spcAft>
                <a:spcPts val="0"/>
              </a:spcAft>
              <a:buClrTx/>
              <a:buSzTx/>
              <a:buFont typeface="Arial"/>
              <a:buNone/>
              <a:tabLst/>
              <a:defRPr lang="en-US" sz="1400">
                <a:solidFill>
                  <a:schemeClr val="tx1"/>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dirty="0">
                <a:effectLst/>
                <a:latin typeface="Arial" panose="020B0604020202020204" pitchFamily="34" charset="0"/>
              </a:rPr>
              <a:t>Client name (optional)</a:t>
            </a:r>
            <a:br>
              <a:rPr lang="en-US" dirty="0">
                <a:effectLst/>
                <a:latin typeface="Arial" panose="020B0604020202020204" pitchFamily="34" charset="0"/>
              </a:rPr>
            </a:br>
            <a:r>
              <a:rPr lang="en-US" dirty="0">
                <a:effectLst/>
                <a:latin typeface="Arial" panose="020B0604020202020204" pitchFamily="34" charset="0"/>
              </a:rPr>
              <a:t>Month 00, 20XX</a:t>
            </a:r>
            <a:br>
              <a:rPr lang="en-US" dirty="0">
                <a:effectLst/>
                <a:latin typeface="Arial" panose="020B0604020202020204" pitchFamily="34" charset="0"/>
              </a:rPr>
            </a:br>
            <a:r>
              <a:rPr lang="en-US" dirty="0">
                <a:effectLst/>
                <a:latin typeface="Arial" panose="020B0604020202020204" pitchFamily="34" charset="0"/>
              </a:rPr>
              <a:t>Presenter1, Job Title, location  |  Presenter2, Job Title, location</a:t>
            </a:r>
            <a:br>
              <a:rPr lang="en-US" dirty="0">
                <a:effectLst/>
                <a:latin typeface="Arial" panose="020B0604020202020204" pitchFamily="34" charset="0"/>
              </a:rPr>
            </a:br>
            <a:r>
              <a:rPr lang="en-US" dirty="0">
                <a:effectLst/>
                <a:latin typeface="Arial" panose="020B0604020202020204" pitchFamily="34" charset="0"/>
              </a:rPr>
              <a:t/>
            </a:r>
            <a:br>
              <a:rPr lang="en-US" dirty="0">
                <a:effectLst/>
                <a:latin typeface="Arial" panose="020B0604020202020204" pitchFamily="34" charset="0"/>
              </a:rPr>
            </a:br>
            <a:r>
              <a:rPr lang="en-US" dirty="0">
                <a:effectLst/>
                <a:latin typeface="Arial" panose="020B0604020202020204" pitchFamily="34" charset="0"/>
              </a:rPr>
              <a:t>Tagline (optional)</a:t>
            </a:r>
          </a:p>
        </p:txBody>
      </p:sp>
      <p:sp>
        <p:nvSpPr>
          <p:cNvPr id="14" name="Rectangle 13">
            <a:extLst>
              <a:ext uri="{FF2B5EF4-FFF2-40B4-BE49-F238E27FC236}">
                <a16:creationId xmlns:a16="http://schemas.microsoft.com/office/drawing/2014/main" id="{8A000828-AFAC-3B45-BED9-82169A449934}"/>
              </a:ext>
            </a:extLst>
          </p:cNvPr>
          <p:cNvSpPr/>
          <p:nvPr/>
        </p:nvSpPr>
        <p:spPr>
          <a:xfrm>
            <a:off x="485775" y="6257135"/>
            <a:ext cx="1785745" cy="153888"/>
          </a:xfrm>
          <a:prstGeom prst="rect">
            <a:avLst/>
          </a:prstGeom>
        </p:spPr>
        <p:txBody>
          <a:bodyPr wrap="none" lIns="0" tIns="0" rIns="0" bIns="0">
            <a:spAutoFit/>
          </a:bodyPr>
          <a:lstStyle/>
          <a:p>
            <a:r>
              <a:rPr lang="en-US" sz="1000" dirty="0">
                <a:effectLst/>
                <a:latin typeface="Arial" panose="020B0604020202020204" pitchFamily="34" charset="0"/>
              </a:rPr>
              <a:t>A business of Marsh McLennan</a:t>
            </a:r>
            <a:endParaRPr lang="en-US" sz="1000" dirty="0"/>
          </a:p>
        </p:txBody>
      </p:sp>
      <p:pic>
        <p:nvPicPr>
          <p:cNvPr id="9" name="Graphic 11">
            <a:extLst>
              <a:ext uri="{FF2B5EF4-FFF2-40B4-BE49-F238E27FC236}">
                <a16:creationId xmlns:a16="http://schemas.microsoft.com/office/drawing/2014/main" id="{4BDA5969-2C42-8648-93E3-BF7B87CBB66A}"/>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39813" y="316362"/>
            <a:ext cx="3158070" cy="384048"/>
          </a:xfrm>
          <a:prstGeom prst="rect">
            <a:avLst/>
          </a:prstGeom>
        </p:spPr>
      </p:pic>
      <p:sp>
        <p:nvSpPr>
          <p:cNvPr id="10" name="Picture Placeholder 5">
            <a:extLst>
              <a:ext uri="{FF2B5EF4-FFF2-40B4-BE49-F238E27FC236}">
                <a16:creationId xmlns:a16="http://schemas.microsoft.com/office/drawing/2014/main" id="{2929EB37-3AE6-8A4E-BF4E-DB8B5DE61D2A}"/>
              </a:ext>
            </a:extLst>
          </p:cNvPr>
          <p:cNvSpPr>
            <a:spLocks noGrp="1" noChangeAspect="1"/>
          </p:cNvSpPr>
          <p:nvPr>
            <p:ph type="pic" sz="quarter" idx="11" hasCustomPrompt="1"/>
          </p:nvPr>
        </p:nvSpPr>
        <p:spPr>
          <a:xfrm>
            <a:off x="8707120" y="361951"/>
            <a:ext cx="3002280" cy="338459"/>
          </a:xfrm>
          <a:noFill/>
        </p:spPr>
        <p:txBody>
          <a:bodyPr anchor="t" anchorCtr="0"/>
          <a:lstStyle>
            <a:lvl1pPr algn="r">
              <a:defRPr sz="1000">
                <a:solidFill>
                  <a:srgbClr val="FF0000"/>
                </a:solidFill>
              </a:defRPr>
            </a:lvl1pPr>
          </a:lstStyle>
          <a:p>
            <a:r>
              <a:rPr lang="en-US" dirty="0" smtClean="0"/>
              <a:t>Placeholder for a third party or a client logo if needed.</a:t>
            </a:r>
            <a:br>
              <a:rPr lang="en-US" dirty="0" smtClean="0"/>
            </a:br>
            <a:endParaRPr lang="en-US" dirty="0" smtClean="0"/>
          </a:p>
        </p:txBody>
      </p:sp>
      <p:sp>
        <p:nvSpPr>
          <p:cNvPr id="11" name="Text Placeholder 7"/>
          <p:cNvSpPr>
            <a:spLocks noGrp="1"/>
          </p:cNvSpPr>
          <p:nvPr>
            <p:ph type="body" sz="quarter" idx="13" hasCustomPrompt="1"/>
          </p:nvPr>
        </p:nvSpPr>
        <p:spPr>
          <a:xfrm>
            <a:off x="8707120" y="1081847"/>
            <a:ext cx="2875280" cy="639323"/>
          </a:xfrm>
        </p:spPr>
        <p:txBody>
          <a:bodyPr/>
          <a:lstStyle>
            <a:lvl1pPr>
              <a:defRPr sz="1000" baseline="0">
                <a:solidFill>
                  <a:srgbClr val="FF0000"/>
                </a:solidFill>
              </a:defRPr>
            </a:lvl1pPr>
          </a:lstStyle>
          <a:p>
            <a:pPr lvl="0"/>
            <a:r>
              <a:rPr lang="en-US" dirty="0" smtClean="0"/>
              <a:t>Zoom in on placeholder until image icon appears. Click icon to insert your image. Once inserted, go to Format tab &gt; click Crop &gt; select “Fit”. Size up as needed if you have a vertical or square logo.  </a:t>
            </a:r>
          </a:p>
        </p:txBody>
      </p:sp>
      <p:sp>
        <p:nvSpPr>
          <p:cNvPr id="15" name="Text Placeholder 7"/>
          <p:cNvSpPr>
            <a:spLocks noGrp="1"/>
          </p:cNvSpPr>
          <p:nvPr>
            <p:ph type="body" sz="quarter" idx="14" hasCustomPrompt="1"/>
          </p:nvPr>
        </p:nvSpPr>
        <p:spPr>
          <a:xfrm>
            <a:off x="8648065" y="744032"/>
            <a:ext cx="213995" cy="288666"/>
          </a:xfrm>
          <a:prstGeom prst="upArrow">
            <a:avLst>
              <a:gd name="adj1" fmla="val 33976"/>
              <a:gd name="adj2" fmla="val 50000"/>
            </a:avLst>
          </a:prstGeom>
          <a:solidFill>
            <a:srgbClr val="FF0000"/>
          </a:solidFill>
        </p:spPr>
        <p:txBody>
          <a:bodyPr/>
          <a:lstStyle>
            <a:lvl1pPr>
              <a:defRPr sz="1000" baseline="0">
                <a:solidFill>
                  <a:srgbClr val="FF0000"/>
                </a:solidFill>
              </a:defRPr>
            </a:lvl1pPr>
          </a:lstStyle>
          <a:p>
            <a:pPr lvl="0"/>
            <a:r>
              <a:rPr lang="en-US" dirty="0" smtClean="0"/>
              <a:t> </a:t>
            </a:r>
          </a:p>
        </p:txBody>
      </p:sp>
    </p:spTree>
    <p:extLst>
      <p:ext uri="{BB962C8B-B14F-4D97-AF65-F5344CB8AC3E}">
        <p14:creationId xmlns:p14="http://schemas.microsoft.com/office/powerpoint/2010/main" val="119614213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3065FBC-B738-C54B-9BC4-18152E824057}"/>
              </a:ext>
            </a:extLst>
          </p:cNvPr>
          <p:cNvGraphicFramePr>
            <a:graphicFrameLocks noChangeAspect="1"/>
          </p:cNvGraphicFramePr>
          <p:nvPr>
            <p:custDataLst>
              <p:tags r:id="rId2"/>
            </p:custDataLst>
            <p:extLst>
              <p:ext uri="{D42A27DB-BD31-4B8C-83A1-F6EECF244321}">
                <p14:modId xmlns:p14="http://schemas.microsoft.com/office/powerpoint/2010/main" val="1464383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0535"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93065FBC-B738-C54B-9BC4-18152E824057}"/>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ext Placeholder 3">
            <a:extLst>
              <a:ext uri="{FF2B5EF4-FFF2-40B4-BE49-F238E27FC236}">
                <a16:creationId xmlns:a16="http://schemas.microsoft.com/office/drawing/2014/main" id="{73D6335A-B440-264A-ADCF-510226FDCEF3}"/>
              </a:ext>
            </a:extLst>
          </p:cNvPr>
          <p:cNvSpPr>
            <a:spLocks noGrp="1"/>
          </p:cNvSpPr>
          <p:nvPr>
            <p:ph type="body" sz="half" idx="15" hasCustomPrompt="1"/>
          </p:nvPr>
        </p:nvSpPr>
        <p:spPr>
          <a:xfrm>
            <a:off x="6210301" y="6388100"/>
            <a:ext cx="4546600" cy="247650"/>
          </a:xfrm>
        </p:spPr>
        <p:txBody>
          <a:bodyPr anchor="b"/>
          <a:lstStyle>
            <a:lvl1pPr marL="0" indent="0" algn="r">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a footnote</a:t>
            </a:r>
          </a:p>
        </p:txBody>
      </p:sp>
      <p:sp>
        <p:nvSpPr>
          <p:cNvPr id="7" name="Title 1">
            <a:extLst>
              <a:ext uri="{FF2B5EF4-FFF2-40B4-BE49-F238E27FC236}">
                <a16:creationId xmlns:a16="http://schemas.microsoft.com/office/drawing/2014/main" id="{354D9E00-BE79-044E-880B-B336004BBA7A}"/>
              </a:ext>
            </a:extLst>
          </p:cNvPr>
          <p:cNvSpPr>
            <a:spLocks noGrp="1"/>
          </p:cNvSpPr>
          <p:nvPr>
            <p:ph type="title" hasCustomPrompt="1"/>
          </p:nvPr>
        </p:nvSpPr>
        <p:spPr>
          <a:xfrm>
            <a:off x="457200" y="355601"/>
            <a:ext cx="11252199" cy="495299"/>
          </a:xfrm>
        </p:spPr>
        <p:txBody>
          <a:bodyPr vert="horz"/>
          <a:lstStyle/>
          <a:p>
            <a:r>
              <a:rPr lang="en-US" dirty="0"/>
              <a:t>Click to add title</a:t>
            </a:r>
          </a:p>
        </p:txBody>
      </p:sp>
      <p:sp>
        <p:nvSpPr>
          <p:cNvPr id="8" name="Text Placeholder 3">
            <a:extLst>
              <a:ext uri="{FF2B5EF4-FFF2-40B4-BE49-F238E27FC236}">
                <a16:creationId xmlns:a16="http://schemas.microsoft.com/office/drawing/2014/main" id="{93740D47-97C5-7046-A0ED-2FDCEE545EC7}"/>
              </a:ext>
            </a:extLst>
          </p:cNvPr>
          <p:cNvSpPr>
            <a:spLocks noGrp="1"/>
          </p:cNvSpPr>
          <p:nvPr>
            <p:ph type="body" sz="half" idx="2"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Click to add optional subtitle – remove if not needed</a:t>
            </a:r>
            <a:endParaRPr lang="en-US" dirty="0"/>
          </a:p>
        </p:txBody>
      </p:sp>
    </p:spTree>
    <p:extLst>
      <p:ext uri="{BB962C8B-B14F-4D97-AF65-F5344CB8AC3E}">
        <p14:creationId xmlns:p14="http://schemas.microsoft.com/office/powerpoint/2010/main" val="198285722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plit_blue righ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2"/>
            </p:custDataLst>
            <p:extLst>
              <p:ext uri="{D42A27DB-BD31-4B8C-83A1-F6EECF244321}">
                <p14:modId xmlns:p14="http://schemas.microsoft.com/office/powerpoint/2010/main" val="1794897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1559"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7" name="Freeform 16">
            <a:extLst>
              <a:ext uri="{FF2B5EF4-FFF2-40B4-BE49-F238E27FC236}">
                <a16:creationId xmlns:a16="http://schemas.microsoft.com/office/drawing/2014/main" id="{87B98418-DB22-7247-B4EF-AF4390CDCA0E}"/>
              </a:ext>
            </a:extLst>
          </p:cNvPr>
          <p:cNvSpPr/>
          <p:nvPr/>
        </p:nvSpPr>
        <p:spPr>
          <a:xfrm>
            <a:off x="6211018" y="0"/>
            <a:ext cx="5980982" cy="6858000"/>
          </a:xfrm>
          <a:custGeom>
            <a:avLst/>
            <a:gdLst>
              <a:gd name="connsiteX0" fmla="*/ 0 w 5980982"/>
              <a:gd name="connsiteY0" fmla="*/ 0 h 6858000"/>
              <a:gd name="connsiteX1" fmla="*/ 5980982 w 5980982"/>
              <a:gd name="connsiteY1" fmla="*/ 0 h 6858000"/>
              <a:gd name="connsiteX2" fmla="*/ 5980982 w 5980982"/>
              <a:gd name="connsiteY2" fmla="*/ 6858000 h 6858000"/>
              <a:gd name="connsiteX3" fmla="*/ 0 w 5980982"/>
              <a:gd name="connsiteY3" fmla="*/ 6858000 h 6858000"/>
              <a:gd name="connsiteX4" fmla="*/ 0 w 5980982"/>
              <a:gd name="connsiteY4" fmla="*/ 3555999 h 6858000"/>
              <a:gd name="connsiteX5" fmla="*/ 132789 w 5980982"/>
              <a:gd name="connsiteY5" fmla="*/ 3429000 h 6858000"/>
              <a:gd name="connsiteX6" fmla="*/ 0 w 5980982"/>
              <a:gd name="connsiteY6" fmla="*/ 330200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80982" h="6858000">
                <a:moveTo>
                  <a:pt x="0" y="0"/>
                </a:moveTo>
                <a:lnTo>
                  <a:pt x="5980982" y="0"/>
                </a:lnTo>
                <a:lnTo>
                  <a:pt x="5980982" y="6858000"/>
                </a:lnTo>
                <a:lnTo>
                  <a:pt x="0" y="6858000"/>
                </a:lnTo>
                <a:lnTo>
                  <a:pt x="0" y="3555999"/>
                </a:lnTo>
                <a:lnTo>
                  <a:pt x="132789" y="3429000"/>
                </a:lnTo>
                <a:lnTo>
                  <a:pt x="0" y="3302001"/>
                </a:ln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dirty="0"/>
          </a:p>
        </p:txBody>
      </p:sp>
      <p:sp>
        <p:nvSpPr>
          <p:cNvPr id="5" name="Title 1">
            <a:extLst>
              <a:ext uri="{FF2B5EF4-FFF2-40B4-BE49-F238E27FC236}">
                <a16:creationId xmlns:a16="http://schemas.microsoft.com/office/drawing/2014/main" id="{DB3B1839-746D-0040-B4BF-DEAD14769839}"/>
              </a:ext>
            </a:extLst>
          </p:cNvPr>
          <p:cNvSpPr>
            <a:spLocks noGrp="1"/>
          </p:cNvSpPr>
          <p:nvPr>
            <p:ph type="title" hasCustomPrompt="1"/>
          </p:nvPr>
        </p:nvSpPr>
        <p:spPr>
          <a:xfrm>
            <a:off x="457201" y="355601"/>
            <a:ext cx="5524500" cy="495299"/>
          </a:xfrm>
        </p:spPr>
        <p:txBody>
          <a:bodyPr vert="horz"/>
          <a:lstStyle/>
          <a:p>
            <a:r>
              <a:rPr lang="en-US" dirty="0"/>
              <a:t>Click to add title</a:t>
            </a:r>
          </a:p>
        </p:txBody>
      </p:sp>
      <p:sp>
        <p:nvSpPr>
          <p:cNvPr id="6" name="TextBox 5">
            <a:extLst>
              <a:ext uri="{FF2B5EF4-FFF2-40B4-BE49-F238E27FC236}">
                <a16:creationId xmlns:a16="http://schemas.microsoft.com/office/drawing/2014/main" id="{9A6A4D16-2CB5-DA4B-9931-20D3477C5477}"/>
              </a:ext>
            </a:extLst>
          </p:cNvPr>
          <p:cNvSpPr txBox="1"/>
          <p:nvPr userDrawn="1"/>
        </p:nvSpPr>
        <p:spPr>
          <a:xfrm>
            <a:off x="11430000" y="6516007"/>
            <a:ext cx="279400" cy="123111"/>
          </a:xfrm>
          <a:prstGeom prst="rect">
            <a:avLst/>
          </a:prstGeom>
          <a:noFill/>
        </p:spPr>
        <p:txBody>
          <a:bodyPr wrap="squar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B2884B6-D4BF-C444-8DD3-A349AF38F97C}" type="slidenum">
              <a:rPr lang="en-US" sz="800" kern="1200" smtClean="0">
                <a:solidFill>
                  <a:schemeClr val="bg1"/>
                </a:solidFill>
                <a:effectLst/>
                <a:latin typeface="+mn-lt"/>
                <a:ea typeface="+mn-ea"/>
                <a:cs typeface="+mn-cs"/>
              </a:rPr>
              <a:t>‹#›</a:t>
            </a:fld>
            <a:endParaRPr lang="en-US" sz="800" kern="1200" dirty="0">
              <a:solidFill>
                <a:schemeClr val="bg1"/>
              </a:solidFill>
              <a:effectLst/>
              <a:latin typeface="+mn-lt"/>
              <a:ea typeface="+mn-ea"/>
              <a:cs typeface="+mn-cs"/>
            </a:endParaRPr>
          </a:p>
        </p:txBody>
      </p:sp>
      <p:sp>
        <p:nvSpPr>
          <p:cNvPr id="8" name="Text Placeholder 3">
            <a:extLst>
              <a:ext uri="{FF2B5EF4-FFF2-40B4-BE49-F238E27FC236}">
                <a16:creationId xmlns:a16="http://schemas.microsoft.com/office/drawing/2014/main" id="{93740D47-97C5-7046-A0ED-2FDCEE545EC7}"/>
              </a:ext>
            </a:extLst>
          </p:cNvPr>
          <p:cNvSpPr>
            <a:spLocks noGrp="1"/>
          </p:cNvSpPr>
          <p:nvPr>
            <p:ph type="body" sz="half" idx="2" hasCustomPrompt="1"/>
          </p:nvPr>
        </p:nvSpPr>
        <p:spPr>
          <a:xfrm>
            <a:off x="485776" y="806807"/>
            <a:ext cx="5495925"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Click to add optional subtitle</a:t>
            </a:r>
            <a:endParaRPr lang="en-US" dirty="0"/>
          </a:p>
        </p:txBody>
      </p:sp>
    </p:spTree>
    <p:extLst>
      <p:ext uri="{BB962C8B-B14F-4D97-AF65-F5344CB8AC3E}">
        <p14:creationId xmlns:p14="http://schemas.microsoft.com/office/powerpoint/2010/main" val="350355495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plit_blue left">
    <p:bg>
      <p:bgPr>
        <a:solidFill>
          <a:schemeClr val="accent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2"/>
            </p:custDataLst>
            <p:extLst>
              <p:ext uri="{D42A27DB-BD31-4B8C-83A1-F6EECF244321}">
                <p14:modId xmlns:p14="http://schemas.microsoft.com/office/powerpoint/2010/main" val="159175390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6601"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DB3B1839-746D-0040-B4BF-DEAD14769839}"/>
              </a:ext>
            </a:extLst>
          </p:cNvPr>
          <p:cNvSpPr>
            <a:spLocks noGrp="1"/>
          </p:cNvSpPr>
          <p:nvPr>
            <p:ph type="title" hasCustomPrompt="1"/>
          </p:nvPr>
        </p:nvSpPr>
        <p:spPr>
          <a:xfrm>
            <a:off x="457201" y="355601"/>
            <a:ext cx="5524500" cy="495299"/>
          </a:xfrm>
        </p:spPr>
        <p:txBody>
          <a:bodyPr vert="horz"/>
          <a:lstStyle>
            <a:lvl1pPr>
              <a:defRPr>
                <a:solidFill>
                  <a:schemeClr val="bg1"/>
                </a:solidFill>
              </a:defRPr>
            </a:lvl1pPr>
          </a:lstStyle>
          <a:p>
            <a:r>
              <a:rPr lang="en-US" dirty="0"/>
              <a:t>Click to add title</a:t>
            </a:r>
          </a:p>
        </p:txBody>
      </p:sp>
      <p:sp>
        <p:nvSpPr>
          <p:cNvPr id="6" name="Freeform 5">
            <a:extLst>
              <a:ext uri="{FF2B5EF4-FFF2-40B4-BE49-F238E27FC236}">
                <a16:creationId xmlns:a16="http://schemas.microsoft.com/office/drawing/2014/main" id="{87B98418-DB22-7247-B4EF-AF4390CDCA0E}"/>
              </a:ext>
            </a:extLst>
          </p:cNvPr>
          <p:cNvSpPr/>
          <p:nvPr userDrawn="1"/>
        </p:nvSpPr>
        <p:spPr>
          <a:xfrm>
            <a:off x="6211018" y="0"/>
            <a:ext cx="5980982" cy="6858000"/>
          </a:xfrm>
          <a:custGeom>
            <a:avLst/>
            <a:gdLst>
              <a:gd name="connsiteX0" fmla="*/ 0 w 5980982"/>
              <a:gd name="connsiteY0" fmla="*/ 0 h 6858000"/>
              <a:gd name="connsiteX1" fmla="*/ 5980982 w 5980982"/>
              <a:gd name="connsiteY1" fmla="*/ 0 h 6858000"/>
              <a:gd name="connsiteX2" fmla="*/ 5980982 w 5980982"/>
              <a:gd name="connsiteY2" fmla="*/ 6858000 h 6858000"/>
              <a:gd name="connsiteX3" fmla="*/ 0 w 5980982"/>
              <a:gd name="connsiteY3" fmla="*/ 6858000 h 6858000"/>
              <a:gd name="connsiteX4" fmla="*/ 0 w 5980982"/>
              <a:gd name="connsiteY4" fmla="*/ 3555999 h 6858000"/>
              <a:gd name="connsiteX5" fmla="*/ 132789 w 5980982"/>
              <a:gd name="connsiteY5" fmla="*/ 3429000 h 6858000"/>
              <a:gd name="connsiteX6" fmla="*/ 0 w 5980982"/>
              <a:gd name="connsiteY6" fmla="*/ 330200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80982" h="6858000">
                <a:moveTo>
                  <a:pt x="0" y="0"/>
                </a:moveTo>
                <a:lnTo>
                  <a:pt x="5980982" y="0"/>
                </a:lnTo>
                <a:lnTo>
                  <a:pt x="5980982" y="6858000"/>
                </a:lnTo>
                <a:lnTo>
                  <a:pt x="0" y="6858000"/>
                </a:lnTo>
                <a:lnTo>
                  <a:pt x="0" y="3555999"/>
                </a:lnTo>
                <a:lnTo>
                  <a:pt x="132789" y="3429000"/>
                </a:lnTo>
                <a:lnTo>
                  <a:pt x="0" y="3302001"/>
                </a:lnTo>
                <a:close/>
              </a:path>
            </a:pathLst>
          </a:cu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dirty="0"/>
          </a:p>
        </p:txBody>
      </p:sp>
      <p:sp>
        <p:nvSpPr>
          <p:cNvPr id="8" name="TextBox 7">
            <a:extLst>
              <a:ext uri="{FF2B5EF4-FFF2-40B4-BE49-F238E27FC236}">
                <a16:creationId xmlns:a16="http://schemas.microsoft.com/office/drawing/2014/main" id="{9A6A4D16-2CB5-DA4B-9931-20D3477C5477}"/>
              </a:ext>
            </a:extLst>
          </p:cNvPr>
          <p:cNvSpPr txBox="1"/>
          <p:nvPr userDrawn="1"/>
        </p:nvSpPr>
        <p:spPr>
          <a:xfrm>
            <a:off x="11430000" y="6516007"/>
            <a:ext cx="279400" cy="123111"/>
          </a:xfrm>
          <a:prstGeom prst="rect">
            <a:avLst/>
          </a:prstGeom>
          <a:noFill/>
        </p:spPr>
        <p:txBody>
          <a:bodyPr wrap="squar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B2884B6-D4BF-C444-8DD3-A349AF38F97C}" type="slidenum">
              <a:rPr lang="en-US" sz="800" kern="1200" smtClean="0">
                <a:solidFill>
                  <a:schemeClr val="tx1"/>
                </a:solidFill>
                <a:effectLst/>
                <a:latin typeface="+mn-lt"/>
                <a:ea typeface="+mn-ea"/>
                <a:cs typeface="+mn-cs"/>
              </a:rPr>
              <a:t>‹#›</a:t>
            </a:fld>
            <a:endParaRPr lang="en-US" sz="800" kern="1200" dirty="0">
              <a:solidFill>
                <a:schemeClr val="tx1"/>
              </a:solidFill>
              <a:effectLst/>
              <a:latin typeface="+mn-lt"/>
              <a:ea typeface="+mn-ea"/>
              <a:cs typeface="+mn-cs"/>
            </a:endParaRPr>
          </a:p>
        </p:txBody>
      </p:sp>
      <p:sp>
        <p:nvSpPr>
          <p:cNvPr id="9" name="Text Placeholder 3">
            <a:extLst>
              <a:ext uri="{FF2B5EF4-FFF2-40B4-BE49-F238E27FC236}">
                <a16:creationId xmlns:a16="http://schemas.microsoft.com/office/drawing/2014/main" id="{93740D47-97C5-7046-A0ED-2FDCEE545EC7}"/>
              </a:ext>
            </a:extLst>
          </p:cNvPr>
          <p:cNvSpPr>
            <a:spLocks noGrp="1"/>
          </p:cNvSpPr>
          <p:nvPr>
            <p:ph type="body" sz="half" idx="2" hasCustomPrompt="1"/>
          </p:nvPr>
        </p:nvSpPr>
        <p:spPr>
          <a:xfrm>
            <a:off x="485776" y="806807"/>
            <a:ext cx="5495925" cy="318476"/>
          </a:xfrm>
        </p:spPr>
        <p:txBody>
          <a:bodyPr/>
          <a:lstStyle>
            <a:lvl1pPr marL="0" indent="0">
              <a:buNone/>
              <a:defRPr sz="1800" b="1">
                <a:solidFill>
                  <a:schemeClr val="bg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Click to add optional subtitle</a:t>
            </a:r>
            <a:endParaRPr lang="en-US" dirty="0"/>
          </a:p>
        </p:txBody>
      </p:sp>
      <p:pic>
        <p:nvPicPr>
          <p:cNvPr id="10" name="Graphic 9">
            <a:extLst>
              <a:ext uri="{FF2B5EF4-FFF2-40B4-BE49-F238E27FC236}">
                <a16:creationId xmlns:a16="http://schemas.microsoft.com/office/drawing/2014/main" id="{D0BD2358-DC70-594C-AEF2-F1AF15153B94}"/>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67745" y="6506515"/>
            <a:ext cx="1199770" cy="145903"/>
          </a:xfrm>
          <a:prstGeom prst="rect">
            <a:avLst/>
          </a:prstGeom>
        </p:spPr>
      </p:pic>
    </p:spTree>
    <p:extLst>
      <p:ext uri="{BB962C8B-B14F-4D97-AF65-F5344CB8AC3E}">
        <p14:creationId xmlns:p14="http://schemas.microsoft.com/office/powerpoint/2010/main" val="263613246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plit callou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2"/>
            </p:custDataLst>
            <p:extLst>
              <p:ext uri="{D42A27DB-BD31-4B8C-83A1-F6EECF244321}">
                <p14:modId xmlns:p14="http://schemas.microsoft.com/office/powerpoint/2010/main" val="98709616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2583"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Freeform 5">
            <a:extLst>
              <a:ext uri="{FF2B5EF4-FFF2-40B4-BE49-F238E27FC236}">
                <a16:creationId xmlns:a16="http://schemas.microsoft.com/office/drawing/2014/main" id="{6C28D570-764E-8746-A9D3-AD94F6E88F8D}"/>
              </a:ext>
            </a:extLst>
          </p:cNvPr>
          <p:cNvSpPr/>
          <p:nvPr/>
        </p:nvSpPr>
        <p:spPr>
          <a:xfrm>
            <a:off x="8130488" y="0"/>
            <a:ext cx="4061512" cy="6858000"/>
          </a:xfrm>
          <a:custGeom>
            <a:avLst/>
            <a:gdLst>
              <a:gd name="connsiteX0" fmla="*/ 0 w 4061512"/>
              <a:gd name="connsiteY0" fmla="*/ 0 h 6858000"/>
              <a:gd name="connsiteX1" fmla="*/ 3147112 w 4061512"/>
              <a:gd name="connsiteY1" fmla="*/ 0 h 6858000"/>
              <a:gd name="connsiteX2" fmla="*/ 4035136 w 4061512"/>
              <a:gd name="connsiteY2" fmla="*/ 0 h 6858000"/>
              <a:gd name="connsiteX3" fmla="*/ 4061512 w 4061512"/>
              <a:gd name="connsiteY3" fmla="*/ 0 h 6858000"/>
              <a:gd name="connsiteX4" fmla="*/ 4061512 w 4061512"/>
              <a:gd name="connsiteY4" fmla="*/ 6858000 h 6858000"/>
              <a:gd name="connsiteX5" fmla="*/ 4035136 w 4061512"/>
              <a:gd name="connsiteY5" fmla="*/ 6858000 h 6858000"/>
              <a:gd name="connsiteX6" fmla="*/ 3147112 w 4061512"/>
              <a:gd name="connsiteY6" fmla="*/ 6858000 h 6858000"/>
              <a:gd name="connsiteX7" fmla="*/ 0 w 4061512"/>
              <a:gd name="connsiteY7" fmla="*/ 6858000 h 6858000"/>
              <a:gd name="connsiteX8" fmla="*/ 0 w 4061512"/>
              <a:gd name="connsiteY8" fmla="*/ 1863155 h 6858000"/>
              <a:gd name="connsiteX9" fmla="*/ 129886 w 4061512"/>
              <a:gd name="connsiteY9" fmla="*/ 1737014 h 6858000"/>
              <a:gd name="connsiteX10" fmla="*/ 0 w 4061512"/>
              <a:gd name="connsiteY10" fmla="*/ 161087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061512" h="6858000">
                <a:moveTo>
                  <a:pt x="0" y="0"/>
                </a:moveTo>
                <a:lnTo>
                  <a:pt x="3147112" y="0"/>
                </a:lnTo>
                <a:lnTo>
                  <a:pt x="4035136" y="0"/>
                </a:lnTo>
                <a:lnTo>
                  <a:pt x="4061512" y="0"/>
                </a:lnTo>
                <a:lnTo>
                  <a:pt x="4061512" y="6858000"/>
                </a:lnTo>
                <a:lnTo>
                  <a:pt x="4035136" y="6858000"/>
                </a:lnTo>
                <a:lnTo>
                  <a:pt x="3147112" y="6858000"/>
                </a:lnTo>
                <a:lnTo>
                  <a:pt x="0" y="6858000"/>
                </a:lnTo>
                <a:lnTo>
                  <a:pt x="0" y="1863155"/>
                </a:lnTo>
                <a:lnTo>
                  <a:pt x="129886" y="1737014"/>
                </a:lnTo>
                <a:lnTo>
                  <a:pt x="0" y="1610874"/>
                </a:ln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dirty="0"/>
          </a:p>
        </p:txBody>
      </p:sp>
      <p:sp>
        <p:nvSpPr>
          <p:cNvPr id="5" name="Title 1">
            <a:extLst>
              <a:ext uri="{FF2B5EF4-FFF2-40B4-BE49-F238E27FC236}">
                <a16:creationId xmlns:a16="http://schemas.microsoft.com/office/drawing/2014/main" id="{9F9C6AB7-D830-FB47-85B5-3AAB04B2E68F}"/>
              </a:ext>
            </a:extLst>
          </p:cNvPr>
          <p:cNvSpPr>
            <a:spLocks noGrp="1"/>
          </p:cNvSpPr>
          <p:nvPr>
            <p:ph type="title" hasCustomPrompt="1"/>
          </p:nvPr>
        </p:nvSpPr>
        <p:spPr>
          <a:xfrm>
            <a:off x="457201" y="355601"/>
            <a:ext cx="7429500" cy="495299"/>
          </a:xfrm>
        </p:spPr>
        <p:txBody>
          <a:bodyPr vert="horz"/>
          <a:lstStyle/>
          <a:p>
            <a:r>
              <a:rPr lang="en-US" dirty="0"/>
              <a:t>Click to add title</a:t>
            </a:r>
          </a:p>
        </p:txBody>
      </p:sp>
      <p:sp>
        <p:nvSpPr>
          <p:cNvPr id="8" name="TextBox 7">
            <a:extLst>
              <a:ext uri="{FF2B5EF4-FFF2-40B4-BE49-F238E27FC236}">
                <a16:creationId xmlns:a16="http://schemas.microsoft.com/office/drawing/2014/main" id="{9A6A4D16-2CB5-DA4B-9931-20D3477C5477}"/>
              </a:ext>
            </a:extLst>
          </p:cNvPr>
          <p:cNvSpPr txBox="1"/>
          <p:nvPr userDrawn="1"/>
        </p:nvSpPr>
        <p:spPr>
          <a:xfrm>
            <a:off x="11430000" y="6516007"/>
            <a:ext cx="279400" cy="123111"/>
          </a:xfrm>
          <a:prstGeom prst="rect">
            <a:avLst/>
          </a:prstGeom>
          <a:noFill/>
        </p:spPr>
        <p:txBody>
          <a:bodyPr wrap="squar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B2884B6-D4BF-C444-8DD3-A349AF38F97C}" type="slidenum">
              <a:rPr lang="en-US" sz="800" kern="1200" smtClean="0">
                <a:solidFill>
                  <a:schemeClr val="bg1"/>
                </a:solidFill>
                <a:effectLst/>
                <a:latin typeface="+mn-lt"/>
                <a:ea typeface="+mn-ea"/>
                <a:cs typeface="+mn-cs"/>
              </a:rPr>
              <a:t>‹#›</a:t>
            </a:fld>
            <a:endParaRPr lang="en-US" sz="800" kern="1200" dirty="0">
              <a:solidFill>
                <a:schemeClr val="bg1"/>
              </a:solidFill>
              <a:effectLst/>
              <a:latin typeface="+mn-lt"/>
              <a:ea typeface="+mn-ea"/>
              <a:cs typeface="+mn-cs"/>
            </a:endParaRPr>
          </a:p>
        </p:txBody>
      </p:sp>
      <p:sp>
        <p:nvSpPr>
          <p:cNvPr id="9" name="Text Placeholder 3">
            <a:extLst>
              <a:ext uri="{FF2B5EF4-FFF2-40B4-BE49-F238E27FC236}">
                <a16:creationId xmlns:a16="http://schemas.microsoft.com/office/drawing/2014/main" id="{93740D47-97C5-7046-A0ED-2FDCEE545EC7}"/>
              </a:ext>
            </a:extLst>
          </p:cNvPr>
          <p:cNvSpPr>
            <a:spLocks noGrp="1"/>
          </p:cNvSpPr>
          <p:nvPr>
            <p:ph type="body" sz="half" idx="2" hasCustomPrompt="1"/>
          </p:nvPr>
        </p:nvSpPr>
        <p:spPr>
          <a:xfrm>
            <a:off x="485776" y="806807"/>
            <a:ext cx="5495925"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Click to add optional subtitle</a:t>
            </a:r>
            <a:endParaRPr lang="en-US" dirty="0"/>
          </a:p>
        </p:txBody>
      </p:sp>
    </p:spTree>
    <p:extLst>
      <p:ext uri="{BB962C8B-B14F-4D97-AF65-F5344CB8AC3E}">
        <p14:creationId xmlns:p14="http://schemas.microsoft.com/office/powerpoint/2010/main" val="313539991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0376934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CONTENT + IMAGES">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3D1D590-820D-DB4B-B4DE-E39929241090}"/>
              </a:ext>
            </a:extLst>
          </p:cNvPr>
          <p:cNvGraphicFramePr>
            <a:graphicFrameLocks noChangeAspect="1"/>
          </p:cNvGraphicFramePr>
          <p:nvPr>
            <p:custDataLst>
              <p:tags r:id="rId2"/>
            </p:custDataLst>
            <p:extLst>
              <p:ext uri="{D42A27DB-BD31-4B8C-83A1-F6EECF244321}">
                <p14:modId xmlns:p14="http://schemas.microsoft.com/office/powerpoint/2010/main" val="115146486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3607"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B3D1D590-820D-DB4B-B4DE-E39929241090}"/>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TextBox 6">
            <a:extLst>
              <a:ext uri="{FF2B5EF4-FFF2-40B4-BE49-F238E27FC236}">
                <a16:creationId xmlns:a16="http://schemas.microsoft.com/office/drawing/2014/main" id="{C6A0CCC6-7BFA-B74B-BE8E-833BC82918F0}"/>
              </a:ext>
            </a:extLst>
          </p:cNvPr>
          <p:cNvSpPr txBox="1"/>
          <p:nvPr/>
        </p:nvSpPr>
        <p:spPr>
          <a:xfrm>
            <a:off x="374977" y="1582341"/>
            <a:ext cx="8423034" cy="3693319"/>
          </a:xfrm>
          <a:prstGeom prst="rect">
            <a:avLst/>
          </a:prstGeom>
          <a:noFill/>
        </p:spPr>
        <p:txBody>
          <a:bodyPr wrap="square" lIns="0" tIns="0" rIns="0" bIns="0" rtlCol="0" anchor="ctr">
            <a:spAutoFit/>
          </a:bodyPr>
          <a:lstStyle/>
          <a:p>
            <a:pPr algn="l"/>
            <a:r>
              <a:rPr lang="en-US" sz="12000" b="1" i="0" dirty="0">
                <a:solidFill>
                  <a:schemeClr val="bg1"/>
                </a:solidFill>
                <a:latin typeface="Arial Narrow" panose="020B0604020202020204" pitchFamily="34" charset="0"/>
                <a:cs typeface="Arial Narrow" panose="020B0604020202020204" pitchFamily="34" charset="0"/>
              </a:rPr>
              <a:t>CONTENT +  IMAGES</a:t>
            </a:r>
          </a:p>
        </p:txBody>
      </p:sp>
    </p:spTree>
    <p:extLst>
      <p:ext uri="{BB962C8B-B14F-4D97-AF65-F5344CB8AC3E}">
        <p14:creationId xmlns:p14="http://schemas.microsoft.com/office/powerpoint/2010/main" val="9485700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 + dark Image background">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5AFEB67-91FA-AF46-907B-E0F184EFDDD9}"/>
              </a:ext>
            </a:extLst>
          </p:cNvPr>
          <p:cNvGraphicFramePr>
            <a:graphicFrameLocks noChangeAspect="1"/>
          </p:cNvGraphicFramePr>
          <p:nvPr>
            <p:custDataLst>
              <p:tags r:id="rId2"/>
            </p:custDataLst>
            <p:extLst>
              <p:ext uri="{D42A27DB-BD31-4B8C-83A1-F6EECF244321}">
                <p14:modId xmlns:p14="http://schemas.microsoft.com/office/powerpoint/2010/main" val="248700909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4631"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15AFEB67-91FA-AF46-907B-E0F184EFDDD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1" name="Picture Placeholder 10">
            <a:extLst>
              <a:ext uri="{FF2B5EF4-FFF2-40B4-BE49-F238E27FC236}">
                <a16:creationId xmlns:a16="http://schemas.microsoft.com/office/drawing/2014/main" id="{735B67BB-4145-CB43-9042-99F21E43E2EB}"/>
              </a:ext>
            </a:extLst>
          </p:cNvPr>
          <p:cNvSpPr>
            <a:spLocks noGrp="1"/>
          </p:cNvSpPr>
          <p:nvPr>
            <p:ph type="pic" sz="quarter" idx="12" hasCustomPrompt="1"/>
          </p:nvPr>
        </p:nvSpPr>
        <p:spPr>
          <a:xfrm>
            <a:off x="1" y="0"/>
            <a:ext cx="12192000" cy="6858000"/>
          </a:xfrm>
          <a:solidFill>
            <a:srgbClr val="F0F0F0"/>
          </a:solidFill>
        </p:spPr>
        <p:txBody>
          <a:bodyPr/>
          <a:lstStyle>
            <a:lvl1pPr>
              <a:defRPr sz="1200">
                <a:solidFill>
                  <a:srgbClr val="FF0000"/>
                </a:solidFill>
              </a:defRPr>
            </a:lvl1pPr>
          </a:lstStyle>
          <a:p>
            <a:r>
              <a:rPr lang="en-US" dirty="0"/>
              <a:t>Bring picture placeholder to front. Click on picture icon to insert picture. Reset layout and send picture to back.</a:t>
            </a:r>
          </a:p>
        </p:txBody>
      </p:sp>
      <p:sp>
        <p:nvSpPr>
          <p:cNvPr id="8" name="Title 7">
            <a:extLst>
              <a:ext uri="{FF2B5EF4-FFF2-40B4-BE49-F238E27FC236}">
                <a16:creationId xmlns:a16="http://schemas.microsoft.com/office/drawing/2014/main" id="{F3F7DAD6-9BB0-734A-B0C2-5B0A76C9FD6E}"/>
              </a:ext>
            </a:extLst>
          </p:cNvPr>
          <p:cNvSpPr>
            <a:spLocks noGrp="1"/>
          </p:cNvSpPr>
          <p:nvPr>
            <p:ph type="title" hasCustomPrompt="1"/>
          </p:nvPr>
        </p:nvSpPr>
        <p:spPr>
          <a:xfrm>
            <a:off x="438912" y="1619247"/>
            <a:ext cx="5495924" cy="1495428"/>
          </a:xfrm>
        </p:spPr>
        <p:txBody>
          <a:bodyPr vert="horz"/>
          <a:lstStyle>
            <a:lvl1pPr>
              <a:defRPr sz="5600">
                <a:solidFill>
                  <a:schemeClr val="bg1"/>
                </a:solidFill>
              </a:defRPr>
            </a:lvl1pPr>
          </a:lstStyle>
          <a:p>
            <a:r>
              <a:rPr lang="en-US" dirty="0"/>
              <a:t>Click to add title</a:t>
            </a:r>
          </a:p>
        </p:txBody>
      </p:sp>
      <p:sp>
        <p:nvSpPr>
          <p:cNvPr id="26" name="Text Placeholder 25">
            <a:extLst>
              <a:ext uri="{FF2B5EF4-FFF2-40B4-BE49-F238E27FC236}">
                <a16:creationId xmlns:a16="http://schemas.microsoft.com/office/drawing/2014/main" id="{01D5F8C2-80B5-BD4F-91F7-1B8D6A3ACFB6}"/>
              </a:ext>
            </a:extLst>
          </p:cNvPr>
          <p:cNvSpPr>
            <a:spLocks noGrp="1"/>
          </p:cNvSpPr>
          <p:nvPr>
            <p:ph type="body" sz="quarter" idx="13"/>
          </p:nvPr>
        </p:nvSpPr>
        <p:spPr>
          <a:xfrm>
            <a:off x="485776" y="3315923"/>
            <a:ext cx="5495924" cy="2805477"/>
          </a:xfrm>
        </p:spPr>
        <p:txBody>
          <a:bodyPr/>
          <a:lstStyle>
            <a:lvl1pPr>
              <a:defRPr sz="2000" b="1">
                <a:solidFill>
                  <a:schemeClr val="bg1"/>
                </a:solidFill>
              </a:defRPr>
            </a:lvl1pPr>
            <a:lvl2pPr>
              <a:defRPr sz="2000">
                <a:solidFill>
                  <a:schemeClr val="bg1"/>
                </a:solidFill>
              </a:defRPr>
            </a:lvl2pPr>
          </a:lstStyle>
          <a:p>
            <a:pPr lvl="0"/>
            <a:r>
              <a:rPr lang="en-US" smtClean="0"/>
              <a:t>Edit Master text styles</a:t>
            </a:r>
          </a:p>
          <a:p>
            <a:pPr lvl="1"/>
            <a:r>
              <a:rPr lang="en-US" smtClean="0"/>
              <a:t>Second level</a:t>
            </a:r>
          </a:p>
        </p:txBody>
      </p:sp>
    </p:spTree>
    <p:extLst>
      <p:ext uri="{BB962C8B-B14F-4D97-AF65-F5344CB8AC3E}">
        <p14:creationId xmlns:p14="http://schemas.microsoft.com/office/powerpoint/2010/main" val="110741159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Content + light Image background">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5AFEB67-91FA-AF46-907B-E0F184EFDDD9}"/>
              </a:ext>
            </a:extLst>
          </p:cNvPr>
          <p:cNvGraphicFramePr>
            <a:graphicFrameLocks noChangeAspect="1"/>
          </p:cNvGraphicFramePr>
          <p:nvPr>
            <p:custDataLst>
              <p:tags r:id="rId2"/>
            </p:custDataLst>
            <p:extLst>
              <p:ext uri="{D42A27DB-BD31-4B8C-83A1-F6EECF244321}">
                <p14:modId xmlns:p14="http://schemas.microsoft.com/office/powerpoint/2010/main" val="225386618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7625"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15AFEB67-91FA-AF46-907B-E0F184EFDDD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1" name="Picture Placeholder 10">
            <a:extLst>
              <a:ext uri="{FF2B5EF4-FFF2-40B4-BE49-F238E27FC236}">
                <a16:creationId xmlns:a16="http://schemas.microsoft.com/office/drawing/2014/main" id="{735B67BB-4145-CB43-9042-99F21E43E2EB}"/>
              </a:ext>
            </a:extLst>
          </p:cNvPr>
          <p:cNvSpPr>
            <a:spLocks noGrp="1"/>
          </p:cNvSpPr>
          <p:nvPr>
            <p:ph type="pic" sz="quarter" idx="12" hasCustomPrompt="1"/>
          </p:nvPr>
        </p:nvSpPr>
        <p:spPr>
          <a:xfrm>
            <a:off x="1" y="0"/>
            <a:ext cx="12192000" cy="6858000"/>
          </a:xfrm>
          <a:solidFill>
            <a:srgbClr val="F0F0F0"/>
          </a:solidFill>
        </p:spPr>
        <p:txBody>
          <a:bodyPr/>
          <a:lstStyle>
            <a:lvl1pPr>
              <a:defRPr sz="1200">
                <a:solidFill>
                  <a:srgbClr val="FF0000"/>
                </a:solidFill>
              </a:defRPr>
            </a:lvl1pPr>
          </a:lstStyle>
          <a:p>
            <a:r>
              <a:rPr lang="en-US" dirty="0"/>
              <a:t>Bring picture placeholder to front. Click on picture icon to insert picture. Reset layout and send picture to back.</a:t>
            </a:r>
          </a:p>
        </p:txBody>
      </p:sp>
      <p:sp>
        <p:nvSpPr>
          <p:cNvPr id="8" name="Title 7">
            <a:extLst>
              <a:ext uri="{FF2B5EF4-FFF2-40B4-BE49-F238E27FC236}">
                <a16:creationId xmlns:a16="http://schemas.microsoft.com/office/drawing/2014/main" id="{F3F7DAD6-9BB0-734A-B0C2-5B0A76C9FD6E}"/>
              </a:ext>
            </a:extLst>
          </p:cNvPr>
          <p:cNvSpPr>
            <a:spLocks noGrp="1"/>
          </p:cNvSpPr>
          <p:nvPr>
            <p:ph type="title" hasCustomPrompt="1"/>
          </p:nvPr>
        </p:nvSpPr>
        <p:spPr>
          <a:xfrm>
            <a:off x="438912" y="1619247"/>
            <a:ext cx="5495924" cy="1495428"/>
          </a:xfrm>
        </p:spPr>
        <p:txBody>
          <a:bodyPr vert="horz"/>
          <a:lstStyle>
            <a:lvl1pPr>
              <a:defRPr sz="5600">
                <a:solidFill>
                  <a:schemeClr val="accent1"/>
                </a:solidFill>
              </a:defRPr>
            </a:lvl1pPr>
          </a:lstStyle>
          <a:p>
            <a:r>
              <a:rPr lang="en-US" dirty="0"/>
              <a:t>Click to add title</a:t>
            </a:r>
          </a:p>
        </p:txBody>
      </p:sp>
      <p:sp>
        <p:nvSpPr>
          <p:cNvPr id="26" name="Text Placeholder 25">
            <a:extLst>
              <a:ext uri="{FF2B5EF4-FFF2-40B4-BE49-F238E27FC236}">
                <a16:creationId xmlns:a16="http://schemas.microsoft.com/office/drawing/2014/main" id="{01D5F8C2-80B5-BD4F-91F7-1B8D6A3ACFB6}"/>
              </a:ext>
            </a:extLst>
          </p:cNvPr>
          <p:cNvSpPr>
            <a:spLocks noGrp="1"/>
          </p:cNvSpPr>
          <p:nvPr>
            <p:ph type="body" sz="quarter" idx="13"/>
          </p:nvPr>
        </p:nvSpPr>
        <p:spPr>
          <a:xfrm>
            <a:off x="485776" y="3315923"/>
            <a:ext cx="5495924" cy="2805477"/>
          </a:xfrm>
        </p:spPr>
        <p:txBody>
          <a:bodyPr/>
          <a:lstStyle>
            <a:lvl1pPr>
              <a:defRPr sz="2000" b="1">
                <a:solidFill>
                  <a:schemeClr val="accent1"/>
                </a:solidFill>
              </a:defRPr>
            </a:lvl1pPr>
            <a:lvl2pPr>
              <a:defRPr sz="2000">
                <a:solidFill>
                  <a:schemeClr val="accent1"/>
                </a:solidFill>
              </a:defRPr>
            </a:lvl2pPr>
          </a:lstStyle>
          <a:p>
            <a:pPr lvl="0"/>
            <a:r>
              <a:rPr lang="en-US" smtClean="0"/>
              <a:t>Edit Master text styles</a:t>
            </a:r>
          </a:p>
          <a:p>
            <a:pPr lvl="1"/>
            <a:r>
              <a:rPr lang="en-US" smtClean="0"/>
              <a:t>Second level</a:t>
            </a:r>
          </a:p>
        </p:txBody>
      </p:sp>
    </p:spTree>
    <p:extLst>
      <p:ext uri="{BB962C8B-B14F-4D97-AF65-F5344CB8AC3E}">
        <p14:creationId xmlns:p14="http://schemas.microsoft.com/office/powerpoint/2010/main" val="401546220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Content + 1up">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5AFEB67-91FA-AF46-907B-E0F184EFDDD9}"/>
              </a:ext>
            </a:extLst>
          </p:cNvPr>
          <p:cNvGraphicFramePr>
            <a:graphicFrameLocks noChangeAspect="1"/>
          </p:cNvGraphicFramePr>
          <p:nvPr>
            <p:custDataLst>
              <p:tags r:id="rId2"/>
            </p:custDataLst>
            <p:extLst>
              <p:ext uri="{D42A27DB-BD31-4B8C-83A1-F6EECF244321}">
                <p14:modId xmlns:p14="http://schemas.microsoft.com/office/powerpoint/2010/main" val="376548858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5655"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15AFEB67-91FA-AF46-907B-E0F184EFDDD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Content Placeholder 4">
            <a:extLst>
              <a:ext uri="{FF2B5EF4-FFF2-40B4-BE49-F238E27FC236}">
                <a16:creationId xmlns:a16="http://schemas.microsoft.com/office/drawing/2014/main" id="{8AED69B9-B4F1-004C-A77F-27A6FA2E5B93}"/>
              </a:ext>
            </a:extLst>
          </p:cNvPr>
          <p:cNvSpPr>
            <a:spLocks noGrp="1"/>
          </p:cNvSpPr>
          <p:nvPr>
            <p:ph sz="quarter" idx="11"/>
          </p:nvPr>
        </p:nvSpPr>
        <p:spPr>
          <a:xfrm>
            <a:off x="485777" y="1609725"/>
            <a:ext cx="7400923" cy="4519867"/>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Picture Placeholder 10">
            <a:extLst>
              <a:ext uri="{FF2B5EF4-FFF2-40B4-BE49-F238E27FC236}">
                <a16:creationId xmlns:a16="http://schemas.microsoft.com/office/drawing/2014/main" id="{735B67BB-4145-CB43-9042-99F21E43E2EB}"/>
              </a:ext>
            </a:extLst>
          </p:cNvPr>
          <p:cNvSpPr>
            <a:spLocks noGrp="1"/>
          </p:cNvSpPr>
          <p:nvPr>
            <p:ph type="pic" sz="quarter" idx="12"/>
          </p:nvPr>
        </p:nvSpPr>
        <p:spPr>
          <a:xfrm>
            <a:off x="8128001" y="358775"/>
            <a:ext cx="3581399" cy="5770817"/>
          </a:xfrm>
          <a:solidFill>
            <a:srgbClr val="F0F0F0"/>
          </a:solidFill>
        </p:spPr>
        <p:txBody>
          <a:bodyPr/>
          <a:lstStyle>
            <a:lvl1pPr>
              <a:defRPr sz="1200">
                <a:solidFill>
                  <a:srgbClr val="FF0000"/>
                </a:solidFill>
              </a:defRPr>
            </a:lvl1pPr>
          </a:lstStyle>
          <a:p>
            <a:r>
              <a:rPr lang="en-US" dirty="0" smtClean="0"/>
              <a:t>Click icon to add picture</a:t>
            </a:r>
            <a:endParaRPr lang="en-US" dirty="0"/>
          </a:p>
        </p:txBody>
      </p:sp>
      <p:sp>
        <p:nvSpPr>
          <p:cNvPr id="10" name="Title 1">
            <a:extLst>
              <a:ext uri="{FF2B5EF4-FFF2-40B4-BE49-F238E27FC236}">
                <a16:creationId xmlns:a16="http://schemas.microsoft.com/office/drawing/2014/main" id="{EAEFB055-FB93-6449-B5E1-10B3AB4A19FD}"/>
              </a:ext>
            </a:extLst>
          </p:cNvPr>
          <p:cNvSpPr>
            <a:spLocks noGrp="1"/>
          </p:cNvSpPr>
          <p:nvPr>
            <p:ph type="title" hasCustomPrompt="1"/>
          </p:nvPr>
        </p:nvSpPr>
        <p:spPr>
          <a:xfrm>
            <a:off x="457201" y="355601"/>
            <a:ext cx="7429500" cy="495299"/>
          </a:xfrm>
        </p:spPr>
        <p:txBody>
          <a:bodyPr vert="horz"/>
          <a:lstStyle/>
          <a:p>
            <a:r>
              <a:rPr lang="en-US" dirty="0"/>
              <a:t>Click to add title</a:t>
            </a:r>
          </a:p>
        </p:txBody>
      </p:sp>
      <p:sp>
        <p:nvSpPr>
          <p:cNvPr id="12" name="Text Placeholder 3">
            <a:extLst>
              <a:ext uri="{FF2B5EF4-FFF2-40B4-BE49-F238E27FC236}">
                <a16:creationId xmlns:a16="http://schemas.microsoft.com/office/drawing/2014/main" id="{E243AFB7-5041-9B4B-8CEB-9A5E8F8695ED}"/>
              </a:ext>
            </a:extLst>
          </p:cNvPr>
          <p:cNvSpPr>
            <a:spLocks noGrp="1"/>
          </p:cNvSpPr>
          <p:nvPr>
            <p:ph type="body" sz="half" idx="2" hasCustomPrompt="1"/>
          </p:nvPr>
        </p:nvSpPr>
        <p:spPr>
          <a:xfrm>
            <a:off x="485776" y="806807"/>
            <a:ext cx="7410633"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Click to add optional subtitle – remove if not needed</a:t>
            </a:r>
            <a:endParaRPr lang="en-US" dirty="0"/>
          </a:p>
        </p:txBody>
      </p:sp>
    </p:spTree>
    <p:extLst>
      <p:ext uri="{BB962C8B-B14F-4D97-AF65-F5344CB8AC3E}">
        <p14:creationId xmlns:p14="http://schemas.microsoft.com/office/powerpoint/2010/main" val="86711452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ontent + 2up">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2"/>
            </p:custDataLst>
            <p:extLst>
              <p:ext uri="{D42A27DB-BD31-4B8C-83A1-F6EECF244321}">
                <p14:modId xmlns:p14="http://schemas.microsoft.com/office/powerpoint/2010/main" val="350947295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6679"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0" name="Picture Placeholder 10">
            <a:extLst>
              <a:ext uri="{FF2B5EF4-FFF2-40B4-BE49-F238E27FC236}">
                <a16:creationId xmlns:a16="http://schemas.microsoft.com/office/drawing/2014/main" id="{1031E9E1-2938-814C-965B-19D14975B268}"/>
              </a:ext>
            </a:extLst>
          </p:cNvPr>
          <p:cNvSpPr>
            <a:spLocks noGrp="1"/>
          </p:cNvSpPr>
          <p:nvPr>
            <p:ph type="pic" sz="quarter" idx="12"/>
          </p:nvPr>
        </p:nvSpPr>
        <p:spPr>
          <a:xfrm>
            <a:off x="4305300" y="358775"/>
            <a:ext cx="7404101" cy="3009900"/>
          </a:xfrm>
          <a:solidFill>
            <a:srgbClr val="F0F0F0"/>
          </a:solidFill>
        </p:spPr>
        <p:txBody>
          <a:bodyPr/>
          <a:lstStyle>
            <a:lvl1pPr>
              <a:defRPr sz="1200">
                <a:solidFill>
                  <a:srgbClr val="FF0000"/>
                </a:solidFill>
              </a:defRPr>
            </a:lvl1pPr>
          </a:lstStyle>
          <a:p>
            <a:r>
              <a:rPr lang="en-US" dirty="0" smtClean="0"/>
              <a:t>Click icon to add picture</a:t>
            </a:r>
            <a:endParaRPr lang="en-US" dirty="0"/>
          </a:p>
        </p:txBody>
      </p:sp>
      <p:sp>
        <p:nvSpPr>
          <p:cNvPr id="11" name="Picture Placeholder 10">
            <a:extLst>
              <a:ext uri="{FF2B5EF4-FFF2-40B4-BE49-F238E27FC236}">
                <a16:creationId xmlns:a16="http://schemas.microsoft.com/office/drawing/2014/main" id="{0B13524E-D6CD-0C43-A054-5AEA4F8A046D}"/>
              </a:ext>
            </a:extLst>
          </p:cNvPr>
          <p:cNvSpPr>
            <a:spLocks noGrp="1"/>
          </p:cNvSpPr>
          <p:nvPr>
            <p:ph type="pic" sz="quarter" idx="13"/>
          </p:nvPr>
        </p:nvSpPr>
        <p:spPr>
          <a:xfrm>
            <a:off x="4305301" y="3493742"/>
            <a:ext cx="7404100" cy="2624483"/>
          </a:xfrm>
          <a:solidFill>
            <a:srgbClr val="F0F0F0"/>
          </a:solidFill>
        </p:spPr>
        <p:txBody>
          <a:bodyPr/>
          <a:lstStyle>
            <a:lvl1pPr>
              <a:defRPr sz="1200">
                <a:solidFill>
                  <a:srgbClr val="FF0000"/>
                </a:solidFill>
              </a:defRPr>
            </a:lvl1pPr>
          </a:lstStyle>
          <a:p>
            <a:r>
              <a:rPr lang="en-US" dirty="0" smtClean="0"/>
              <a:t>Click icon to add picture</a:t>
            </a:r>
            <a:endParaRPr lang="en-US" dirty="0"/>
          </a:p>
        </p:txBody>
      </p:sp>
      <p:sp>
        <p:nvSpPr>
          <p:cNvPr id="3" name="Content Placeholder 2"/>
          <p:cNvSpPr>
            <a:spLocks noGrp="1"/>
          </p:cNvSpPr>
          <p:nvPr>
            <p:ph sz="half" idx="1"/>
          </p:nvPr>
        </p:nvSpPr>
        <p:spPr>
          <a:xfrm>
            <a:off x="485776" y="1609725"/>
            <a:ext cx="3578224" cy="4508500"/>
          </a:xfrm>
        </p:spPr>
        <p:txBody>
          <a:bodyPr/>
          <a:lstStyle>
            <a:lvl1pPr>
              <a:defRPr sz="1800"/>
            </a:lvl1pPr>
            <a:lvl2pPr>
              <a:defRPr sz="15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smtClean="0"/>
              <a:t>Edit Master text styles</a:t>
            </a:r>
          </a:p>
          <a:p>
            <a:pPr lvl="1"/>
            <a:r>
              <a:rPr lang="en-US" smtClean="0"/>
              <a:t>Second level</a:t>
            </a:r>
          </a:p>
        </p:txBody>
      </p:sp>
      <p:sp>
        <p:nvSpPr>
          <p:cNvPr id="9" name="Title 1">
            <a:extLst>
              <a:ext uri="{FF2B5EF4-FFF2-40B4-BE49-F238E27FC236}">
                <a16:creationId xmlns:a16="http://schemas.microsoft.com/office/drawing/2014/main" id="{189225C4-8365-8740-B93B-01403F28E601}"/>
              </a:ext>
            </a:extLst>
          </p:cNvPr>
          <p:cNvSpPr>
            <a:spLocks noGrp="1"/>
          </p:cNvSpPr>
          <p:nvPr>
            <p:ph type="title" hasCustomPrompt="1"/>
          </p:nvPr>
        </p:nvSpPr>
        <p:spPr>
          <a:xfrm>
            <a:off x="457201" y="355601"/>
            <a:ext cx="3606800" cy="752474"/>
          </a:xfrm>
        </p:spPr>
        <p:txBody>
          <a:bodyPr vert="horz"/>
          <a:lstStyle/>
          <a:p>
            <a:r>
              <a:rPr lang="en-US" dirty="0"/>
              <a:t>Click to add title</a:t>
            </a:r>
          </a:p>
        </p:txBody>
      </p:sp>
    </p:spTree>
    <p:extLst>
      <p:ext uri="{BB962C8B-B14F-4D97-AF65-F5344CB8AC3E}">
        <p14:creationId xmlns:p14="http://schemas.microsoft.com/office/powerpoint/2010/main" val="412855030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nd Content">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5AFEB67-91FA-AF46-907B-E0F184EFDDD9}"/>
              </a:ext>
            </a:extLst>
          </p:cNvPr>
          <p:cNvGraphicFramePr>
            <a:graphicFrameLocks noChangeAspect="1"/>
          </p:cNvGraphicFramePr>
          <p:nvPr>
            <p:custDataLst>
              <p:tags r:id="rId2"/>
            </p:custDataLst>
            <p:extLst>
              <p:ext uri="{D42A27DB-BD31-4B8C-83A1-F6EECF244321}">
                <p14:modId xmlns:p14="http://schemas.microsoft.com/office/powerpoint/2010/main" val="10553001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367"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15AFEB67-91FA-AF46-907B-E0F184EFDDD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9" name="Text Placeholder 3">
            <a:extLst>
              <a:ext uri="{FF2B5EF4-FFF2-40B4-BE49-F238E27FC236}">
                <a16:creationId xmlns:a16="http://schemas.microsoft.com/office/drawing/2014/main" id="{773DA736-E5DF-844D-B5DD-D8BB742411F8}"/>
              </a:ext>
            </a:extLst>
          </p:cNvPr>
          <p:cNvSpPr>
            <a:spLocks noGrp="1"/>
          </p:cNvSpPr>
          <p:nvPr>
            <p:ph type="body" sz="half" idx="10" hasCustomPrompt="1"/>
          </p:nvPr>
        </p:nvSpPr>
        <p:spPr>
          <a:xfrm>
            <a:off x="6210301" y="6388100"/>
            <a:ext cx="4546600" cy="247650"/>
          </a:xfrm>
        </p:spPr>
        <p:txBody>
          <a:bodyPr anchor="b"/>
          <a:lstStyle>
            <a:lvl1pPr marL="0" indent="0" algn="r">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a footnote</a:t>
            </a:r>
          </a:p>
        </p:txBody>
      </p:sp>
      <p:sp>
        <p:nvSpPr>
          <p:cNvPr id="7" name="Content Placeholder 6">
            <a:extLst>
              <a:ext uri="{FF2B5EF4-FFF2-40B4-BE49-F238E27FC236}">
                <a16:creationId xmlns:a16="http://schemas.microsoft.com/office/drawing/2014/main" id="{56C7917B-E936-2847-936C-8884185B0013}"/>
              </a:ext>
            </a:extLst>
          </p:cNvPr>
          <p:cNvSpPr>
            <a:spLocks noGrp="1"/>
          </p:cNvSpPr>
          <p:nvPr>
            <p:ph sz="quarter" idx="11"/>
          </p:nvPr>
        </p:nvSpPr>
        <p:spPr>
          <a:xfrm>
            <a:off x="485776" y="1612900"/>
            <a:ext cx="11223624" cy="4516692"/>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Title 1">
            <a:extLst>
              <a:ext uri="{FF2B5EF4-FFF2-40B4-BE49-F238E27FC236}">
                <a16:creationId xmlns:a16="http://schemas.microsoft.com/office/drawing/2014/main" id="{53DD64E3-026E-A04D-AC24-029A817E8291}"/>
              </a:ext>
            </a:extLst>
          </p:cNvPr>
          <p:cNvSpPr>
            <a:spLocks noGrp="1"/>
          </p:cNvSpPr>
          <p:nvPr>
            <p:ph type="title" hasCustomPrompt="1"/>
          </p:nvPr>
        </p:nvSpPr>
        <p:spPr>
          <a:xfrm>
            <a:off x="457200" y="355601"/>
            <a:ext cx="11252199" cy="495299"/>
          </a:xfrm>
        </p:spPr>
        <p:txBody>
          <a:bodyPr vert="horz"/>
          <a:lstStyle/>
          <a:p>
            <a:r>
              <a:rPr lang="en-US" dirty="0"/>
              <a:t>Click to add title</a:t>
            </a:r>
          </a:p>
        </p:txBody>
      </p:sp>
      <p:sp>
        <p:nvSpPr>
          <p:cNvPr id="11" name="Text Placeholder 3">
            <a:extLst>
              <a:ext uri="{FF2B5EF4-FFF2-40B4-BE49-F238E27FC236}">
                <a16:creationId xmlns:a16="http://schemas.microsoft.com/office/drawing/2014/main" id="{F2D0924E-7A15-6045-86EA-6E2333478DE4}"/>
              </a:ext>
            </a:extLst>
          </p:cNvPr>
          <p:cNvSpPr>
            <a:spLocks noGrp="1"/>
          </p:cNvSpPr>
          <p:nvPr>
            <p:ph type="body" sz="half" idx="2"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Click to add optional subtitle – remove if not needed</a:t>
            </a:r>
            <a:endParaRPr lang="en-US" dirty="0"/>
          </a:p>
        </p:txBody>
      </p:sp>
    </p:spTree>
    <p:extLst>
      <p:ext uri="{BB962C8B-B14F-4D97-AF65-F5344CB8AC3E}">
        <p14:creationId xmlns:p14="http://schemas.microsoft.com/office/powerpoint/2010/main" val="161349810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ontent + 3up">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2"/>
            </p:custDataLst>
            <p:extLst>
              <p:ext uri="{D42A27DB-BD31-4B8C-83A1-F6EECF244321}">
                <p14:modId xmlns:p14="http://schemas.microsoft.com/office/powerpoint/2010/main" val="37088063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7703"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1" name="Picture Placeholder 10">
            <a:extLst>
              <a:ext uri="{FF2B5EF4-FFF2-40B4-BE49-F238E27FC236}">
                <a16:creationId xmlns:a16="http://schemas.microsoft.com/office/drawing/2014/main" id="{0B13524E-D6CD-0C43-A054-5AEA4F8A046D}"/>
              </a:ext>
            </a:extLst>
          </p:cNvPr>
          <p:cNvSpPr>
            <a:spLocks noGrp="1"/>
          </p:cNvSpPr>
          <p:nvPr>
            <p:ph type="pic" sz="quarter" idx="13"/>
          </p:nvPr>
        </p:nvSpPr>
        <p:spPr>
          <a:xfrm>
            <a:off x="4305301" y="3493742"/>
            <a:ext cx="7404100" cy="2624483"/>
          </a:xfrm>
          <a:solidFill>
            <a:srgbClr val="F0F0F0"/>
          </a:solidFill>
        </p:spPr>
        <p:txBody>
          <a:bodyPr/>
          <a:lstStyle>
            <a:lvl1pPr>
              <a:defRPr sz="1200">
                <a:solidFill>
                  <a:srgbClr val="FF0000"/>
                </a:solidFill>
              </a:defRPr>
            </a:lvl1pPr>
          </a:lstStyle>
          <a:p>
            <a:r>
              <a:rPr lang="en-US" dirty="0" smtClean="0"/>
              <a:t>Click icon to add picture</a:t>
            </a:r>
            <a:endParaRPr lang="en-US" dirty="0"/>
          </a:p>
        </p:txBody>
      </p:sp>
      <p:sp>
        <p:nvSpPr>
          <p:cNvPr id="12" name="Picture Placeholder 10">
            <a:extLst>
              <a:ext uri="{FF2B5EF4-FFF2-40B4-BE49-F238E27FC236}">
                <a16:creationId xmlns:a16="http://schemas.microsoft.com/office/drawing/2014/main" id="{86D97FC1-1436-AE4B-A0BC-E2E020B6104B}"/>
              </a:ext>
            </a:extLst>
          </p:cNvPr>
          <p:cNvSpPr>
            <a:spLocks noGrp="1"/>
          </p:cNvSpPr>
          <p:nvPr>
            <p:ph type="pic" sz="quarter" idx="14"/>
          </p:nvPr>
        </p:nvSpPr>
        <p:spPr>
          <a:xfrm>
            <a:off x="8185678" y="358775"/>
            <a:ext cx="3523722" cy="3009900"/>
          </a:xfrm>
          <a:solidFill>
            <a:srgbClr val="F0F0F0"/>
          </a:solidFill>
        </p:spPr>
        <p:txBody>
          <a:bodyPr/>
          <a:lstStyle>
            <a:lvl1pPr>
              <a:defRPr sz="1200">
                <a:solidFill>
                  <a:srgbClr val="FF0000"/>
                </a:solidFill>
              </a:defRPr>
            </a:lvl1pPr>
          </a:lstStyle>
          <a:p>
            <a:r>
              <a:rPr lang="en-US" dirty="0" smtClean="0"/>
              <a:t>Click icon to add picture</a:t>
            </a:r>
            <a:endParaRPr lang="en-US" dirty="0"/>
          </a:p>
        </p:txBody>
      </p:sp>
      <p:sp>
        <p:nvSpPr>
          <p:cNvPr id="15" name="Picture Placeholder 10">
            <a:extLst>
              <a:ext uri="{FF2B5EF4-FFF2-40B4-BE49-F238E27FC236}">
                <a16:creationId xmlns:a16="http://schemas.microsoft.com/office/drawing/2014/main" id="{BC987E18-8715-1944-B602-040A7437FAB6}"/>
              </a:ext>
            </a:extLst>
          </p:cNvPr>
          <p:cNvSpPr>
            <a:spLocks noGrp="1"/>
          </p:cNvSpPr>
          <p:nvPr>
            <p:ph type="pic" sz="quarter" idx="12"/>
          </p:nvPr>
        </p:nvSpPr>
        <p:spPr>
          <a:xfrm>
            <a:off x="4305300" y="358775"/>
            <a:ext cx="3742665" cy="3009900"/>
          </a:xfrm>
          <a:solidFill>
            <a:srgbClr val="F0F0F0"/>
          </a:solidFill>
        </p:spPr>
        <p:txBody>
          <a:bodyPr/>
          <a:lstStyle>
            <a:lvl1pPr>
              <a:defRPr sz="1200">
                <a:solidFill>
                  <a:srgbClr val="FF0000"/>
                </a:solidFill>
              </a:defRPr>
            </a:lvl1pPr>
          </a:lstStyle>
          <a:p>
            <a:r>
              <a:rPr lang="en-US" dirty="0" smtClean="0"/>
              <a:t>Click icon to add picture</a:t>
            </a:r>
            <a:endParaRPr lang="en-US" dirty="0"/>
          </a:p>
        </p:txBody>
      </p:sp>
      <p:sp>
        <p:nvSpPr>
          <p:cNvPr id="3" name="Content Placeholder 2"/>
          <p:cNvSpPr>
            <a:spLocks noGrp="1"/>
          </p:cNvSpPr>
          <p:nvPr>
            <p:ph sz="half" idx="1"/>
          </p:nvPr>
        </p:nvSpPr>
        <p:spPr>
          <a:xfrm>
            <a:off x="485776" y="1609725"/>
            <a:ext cx="3578224" cy="4508500"/>
          </a:xfrm>
        </p:spPr>
        <p:txBody>
          <a:bodyPr/>
          <a:lstStyle>
            <a:lvl1pPr>
              <a:defRPr sz="1800"/>
            </a:lvl1pPr>
            <a:lvl2pPr>
              <a:defRPr sz="15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smtClean="0"/>
              <a:t>Edit Master text styles</a:t>
            </a:r>
          </a:p>
          <a:p>
            <a:pPr lvl="1"/>
            <a:r>
              <a:rPr lang="en-US" smtClean="0"/>
              <a:t>Second level</a:t>
            </a:r>
          </a:p>
        </p:txBody>
      </p:sp>
      <p:sp>
        <p:nvSpPr>
          <p:cNvPr id="9" name="Title 1">
            <a:extLst>
              <a:ext uri="{FF2B5EF4-FFF2-40B4-BE49-F238E27FC236}">
                <a16:creationId xmlns:a16="http://schemas.microsoft.com/office/drawing/2014/main" id="{DAB781F8-68B2-BC49-8993-F85CEFB0A3B4}"/>
              </a:ext>
            </a:extLst>
          </p:cNvPr>
          <p:cNvSpPr>
            <a:spLocks noGrp="1"/>
          </p:cNvSpPr>
          <p:nvPr>
            <p:ph type="title" hasCustomPrompt="1"/>
          </p:nvPr>
        </p:nvSpPr>
        <p:spPr>
          <a:xfrm>
            <a:off x="457201" y="355601"/>
            <a:ext cx="3606800" cy="752474"/>
          </a:xfrm>
        </p:spPr>
        <p:txBody>
          <a:bodyPr vert="horz"/>
          <a:lstStyle/>
          <a:p>
            <a:r>
              <a:rPr lang="en-US" dirty="0"/>
              <a:t>Click to add title</a:t>
            </a:r>
          </a:p>
        </p:txBody>
      </p:sp>
    </p:spTree>
    <p:extLst>
      <p:ext uri="{BB962C8B-B14F-4D97-AF65-F5344CB8AC3E}">
        <p14:creationId xmlns:p14="http://schemas.microsoft.com/office/powerpoint/2010/main" val="349774716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ontent + 3up modul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2"/>
            </p:custDataLst>
            <p:extLst>
              <p:ext uri="{D42A27DB-BD31-4B8C-83A1-F6EECF244321}">
                <p14:modId xmlns:p14="http://schemas.microsoft.com/office/powerpoint/2010/main" val="218295787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8727"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3" name="Picture Placeholder 10">
            <a:extLst>
              <a:ext uri="{FF2B5EF4-FFF2-40B4-BE49-F238E27FC236}">
                <a16:creationId xmlns:a16="http://schemas.microsoft.com/office/drawing/2014/main" id="{06D1C5D0-6FBD-DC40-BF13-9C09EFC9B450}"/>
              </a:ext>
            </a:extLst>
          </p:cNvPr>
          <p:cNvSpPr>
            <a:spLocks noGrp="1"/>
          </p:cNvSpPr>
          <p:nvPr>
            <p:ph type="pic" sz="quarter" idx="12"/>
          </p:nvPr>
        </p:nvSpPr>
        <p:spPr>
          <a:xfrm>
            <a:off x="4305300" y="358775"/>
            <a:ext cx="3822700" cy="2965448"/>
          </a:xfrm>
          <a:solidFill>
            <a:srgbClr val="F0F0F0"/>
          </a:solidFill>
        </p:spPr>
        <p:txBody>
          <a:bodyPr/>
          <a:lstStyle>
            <a:lvl1pPr>
              <a:defRPr sz="1200">
                <a:solidFill>
                  <a:srgbClr val="FF0000"/>
                </a:solidFill>
              </a:defRPr>
            </a:lvl1pPr>
          </a:lstStyle>
          <a:p>
            <a:r>
              <a:rPr lang="en-US" dirty="0" smtClean="0"/>
              <a:t>Click icon to add picture</a:t>
            </a:r>
            <a:endParaRPr lang="en-US" dirty="0"/>
          </a:p>
        </p:txBody>
      </p:sp>
      <p:sp>
        <p:nvSpPr>
          <p:cNvPr id="14" name="Picture Placeholder 10">
            <a:extLst>
              <a:ext uri="{FF2B5EF4-FFF2-40B4-BE49-F238E27FC236}">
                <a16:creationId xmlns:a16="http://schemas.microsoft.com/office/drawing/2014/main" id="{52B98AD3-DEEF-4E4E-A5E7-207AD9EDE0A4}"/>
              </a:ext>
            </a:extLst>
          </p:cNvPr>
          <p:cNvSpPr>
            <a:spLocks noGrp="1"/>
          </p:cNvSpPr>
          <p:nvPr>
            <p:ph type="pic" sz="quarter" idx="14"/>
          </p:nvPr>
        </p:nvSpPr>
        <p:spPr>
          <a:xfrm>
            <a:off x="8226965" y="3493742"/>
            <a:ext cx="3482436" cy="2881658"/>
          </a:xfrm>
          <a:solidFill>
            <a:srgbClr val="F0F0F0"/>
          </a:solidFill>
        </p:spPr>
        <p:txBody>
          <a:bodyPr/>
          <a:lstStyle>
            <a:lvl1pPr>
              <a:defRPr sz="1200">
                <a:solidFill>
                  <a:srgbClr val="FF0000"/>
                </a:solidFill>
              </a:defRPr>
            </a:lvl1pPr>
          </a:lstStyle>
          <a:p>
            <a:r>
              <a:rPr lang="en-US" dirty="0" smtClean="0"/>
              <a:t>Click icon to add picture</a:t>
            </a:r>
            <a:endParaRPr lang="en-US" dirty="0"/>
          </a:p>
        </p:txBody>
      </p:sp>
      <p:sp>
        <p:nvSpPr>
          <p:cNvPr id="15" name="Picture Placeholder 10">
            <a:extLst>
              <a:ext uri="{FF2B5EF4-FFF2-40B4-BE49-F238E27FC236}">
                <a16:creationId xmlns:a16="http://schemas.microsoft.com/office/drawing/2014/main" id="{05DBA6C8-E574-1C41-BF14-D1988A1F09BB}"/>
              </a:ext>
            </a:extLst>
          </p:cNvPr>
          <p:cNvSpPr>
            <a:spLocks noGrp="1"/>
          </p:cNvSpPr>
          <p:nvPr>
            <p:ph type="pic" sz="quarter" idx="15"/>
          </p:nvPr>
        </p:nvSpPr>
        <p:spPr>
          <a:xfrm>
            <a:off x="485776" y="3493742"/>
            <a:ext cx="3578225" cy="2881658"/>
          </a:xfrm>
          <a:solidFill>
            <a:srgbClr val="F0F0F0"/>
          </a:solidFill>
        </p:spPr>
        <p:txBody>
          <a:bodyPr/>
          <a:lstStyle>
            <a:lvl1pPr>
              <a:defRPr sz="1200">
                <a:solidFill>
                  <a:srgbClr val="FF0000"/>
                </a:solidFill>
              </a:defRPr>
            </a:lvl1pPr>
          </a:lstStyle>
          <a:p>
            <a:r>
              <a:rPr lang="en-US" dirty="0" smtClean="0"/>
              <a:t>Click icon to add picture</a:t>
            </a:r>
            <a:endParaRPr lang="en-US" dirty="0"/>
          </a:p>
        </p:txBody>
      </p:sp>
      <p:sp>
        <p:nvSpPr>
          <p:cNvPr id="16" name="Text Placeholder 3">
            <a:extLst>
              <a:ext uri="{FF2B5EF4-FFF2-40B4-BE49-F238E27FC236}">
                <a16:creationId xmlns:a16="http://schemas.microsoft.com/office/drawing/2014/main" id="{450CA7BF-D868-9C46-B4DE-128E2C7369C1}"/>
              </a:ext>
            </a:extLst>
          </p:cNvPr>
          <p:cNvSpPr>
            <a:spLocks noGrp="1"/>
          </p:cNvSpPr>
          <p:nvPr>
            <p:ph type="body" sz="half" idx="2" hasCustomPrompt="1"/>
          </p:nvPr>
        </p:nvSpPr>
        <p:spPr>
          <a:xfrm>
            <a:off x="485777" y="358775"/>
            <a:ext cx="3578224" cy="2965448"/>
          </a:xfrm>
        </p:spPr>
        <p:txBody>
          <a:bodyPr/>
          <a:lstStyle>
            <a:lvl1pPr marL="0" indent="0">
              <a:buNone/>
              <a:defRPr sz="1800" b="0">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content</a:t>
            </a:r>
          </a:p>
        </p:txBody>
      </p:sp>
      <p:sp>
        <p:nvSpPr>
          <p:cNvPr id="17" name="Text Placeholder 3">
            <a:extLst>
              <a:ext uri="{FF2B5EF4-FFF2-40B4-BE49-F238E27FC236}">
                <a16:creationId xmlns:a16="http://schemas.microsoft.com/office/drawing/2014/main" id="{ABA9015E-F6D4-0A41-87F6-DE612B8F621A}"/>
              </a:ext>
            </a:extLst>
          </p:cNvPr>
          <p:cNvSpPr>
            <a:spLocks noGrp="1"/>
          </p:cNvSpPr>
          <p:nvPr>
            <p:ph type="body" sz="half" idx="16" hasCustomPrompt="1"/>
          </p:nvPr>
        </p:nvSpPr>
        <p:spPr>
          <a:xfrm>
            <a:off x="8289864" y="358774"/>
            <a:ext cx="3419538" cy="2965449"/>
          </a:xfrm>
        </p:spPr>
        <p:txBody>
          <a:bodyPr/>
          <a:lstStyle>
            <a:lvl1pPr marL="0" indent="0">
              <a:buNone/>
              <a:defRPr sz="1800" b="0">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content</a:t>
            </a:r>
          </a:p>
        </p:txBody>
      </p:sp>
      <p:sp>
        <p:nvSpPr>
          <p:cNvPr id="18" name="Text Placeholder 3">
            <a:extLst>
              <a:ext uri="{FF2B5EF4-FFF2-40B4-BE49-F238E27FC236}">
                <a16:creationId xmlns:a16="http://schemas.microsoft.com/office/drawing/2014/main" id="{9BFDCF20-88FB-6C4F-AD7A-8B859EBAB09C}"/>
              </a:ext>
            </a:extLst>
          </p:cNvPr>
          <p:cNvSpPr>
            <a:spLocks noGrp="1"/>
          </p:cNvSpPr>
          <p:nvPr>
            <p:ph type="body" sz="half" idx="17" hasCustomPrompt="1"/>
          </p:nvPr>
        </p:nvSpPr>
        <p:spPr>
          <a:xfrm>
            <a:off x="4396873" y="3493742"/>
            <a:ext cx="3657599" cy="2881659"/>
          </a:xfrm>
        </p:spPr>
        <p:txBody>
          <a:bodyPr/>
          <a:lstStyle>
            <a:lvl1pPr marL="0" indent="0">
              <a:buNone/>
              <a:defRPr sz="1800" b="0">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content</a:t>
            </a:r>
          </a:p>
        </p:txBody>
      </p:sp>
    </p:spTree>
    <p:extLst>
      <p:ext uri="{BB962C8B-B14F-4D97-AF65-F5344CB8AC3E}">
        <p14:creationId xmlns:p14="http://schemas.microsoft.com/office/powerpoint/2010/main" val="303576907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Content + 4up">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2"/>
            </p:custDataLst>
            <p:extLst>
              <p:ext uri="{D42A27DB-BD31-4B8C-83A1-F6EECF244321}">
                <p14:modId xmlns:p14="http://schemas.microsoft.com/office/powerpoint/2010/main" val="3568149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9751"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0" name="Picture Placeholder 10">
            <a:extLst>
              <a:ext uri="{FF2B5EF4-FFF2-40B4-BE49-F238E27FC236}">
                <a16:creationId xmlns:a16="http://schemas.microsoft.com/office/drawing/2014/main" id="{1031E9E1-2938-814C-965B-19D14975B268}"/>
              </a:ext>
            </a:extLst>
          </p:cNvPr>
          <p:cNvSpPr>
            <a:spLocks noGrp="1"/>
          </p:cNvSpPr>
          <p:nvPr>
            <p:ph type="pic" sz="quarter" idx="12"/>
          </p:nvPr>
        </p:nvSpPr>
        <p:spPr>
          <a:xfrm>
            <a:off x="4305301" y="358775"/>
            <a:ext cx="3785416" cy="3009900"/>
          </a:xfrm>
          <a:solidFill>
            <a:srgbClr val="F0F0F0"/>
          </a:solidFill>
        </p:spPr>
        <p:txBody>
          <a:bodyPr/>
          <a:lstStyle>
            <a:lvl1pPr>
              <a:defRPr sz="1200">
                <a:solidFill>
                  <a:srgbClr val="FF0000"/>
                </a:solidFill>
              </a:defRPr>
            </a:lvl1pPr>
          </a:lstStyle>
          <a:p>
            <a:r>
              <a:rPr lang="en-US" dirty="0" smtClean="0"/>
              <a:t>Click icon to add picture</a:t>
            </a:r>
            <a:endParaRPr lang="en-US" dirty="0"/>
          </a:p>
        </p:txBody>
      </p:sp>
      <p:sp>
        <p:nvSpPr>
          <p:cNvPr id="11" name="Picture Placeholder 10">
            <a:extLst>
              <a:ext uri="{FF2B5EF4-FFF2-40B4-BE49-F238E27FC236}">
                <a16:creationId xmlns:a16="http://schemas.microsoft.com/office/drawing/2014/main" id="{0B13524E-D6CD-0C43-A054-5AEA4F8A046D}"/>
              </a:ext>
            </a:extLst>
          </p:cNvPr>
          <p:cNvSpPr>
            <a:spLocks noGrp="1"/>
          </p:cNvSpPr>
          <p:nvPr>
            <p:ph type="pic" sz="quarter" idx="13"/>
          </p:nvPr>
        </p:nvSpPr>
        <p:spPr>
          <a:xfrm>
            <a:off x="4305300" y="3493742"/>
            <a:ext cx="3785415" cy="2627658"/>
          </a:xfrm>
          <a:solidFill>
            <a:srgbClr val="F0F0F0"/>
          </a:solidFill>
        </p:spPr>
        <p:txBody>
          <a:bodyPr/>
          <a:lstStyle>
            <a:lvl1pPr>
              <a:defRPr sz="1200">
                <a:solidFill>
                  <a:srgbClr val="FF0000"/>
                </a:solidFill>
              </a:defRPr>
            </a:lvl1pPr>
          </a:lstStyle>
          <a:p>
            <a:r>
              <a:rPr lang="en-US" dirty="0" smtClean="0"/>
              <a:t>Click icon to add picture</a:t>
            </a:r>
            <a:endParaRPr lang="en-US" dirty="0"/>
          </a:p>
        </p:txBody>
      </p:sp>
      <p:sp>
        <p:nvSpPr>
          <p:cNvPr id="12" name="Picture Placeholder 10">
            <a:extLst>
              <a:ext uri="{FF2B5EF4-FFF2-40B4-BE49-F238E27FC236}">
                <a16:creationId xmlns:a16="http://schemas.microsoft.com/office/drawing/2014/main" id="{86D97FC1-1436-AE4B-A0BC-E2E020B6104B}"/>
              </a:ext>
            </a:extLst>
          </p:cNvPr>
          <p:cNvSpPr>
            <a:spLocks noGrp="1"/>
          </p:cNvSpPr>
          <p:nvPr>
            <p:ph type="pic" sz="quarter" idx="14"/>
          </p:nvPr>
        </p:nvSpPr>
        <p:spPr>
          <a:xfrm>
            <a:off x="8226964" y="358775"/>
            <a:ext cx="3482437" cy="3009900"/>
          </a:xfrm>
          <a:solidFill>
            <a:srgbClr val="F0F0F0"/>
          </a:solidFill>
        </p:spPr>
        <p:txBody>
          <a:bodyPr/>
          <a:lstStyle>
            <a:lvl1pPr>
              <a:defRPr sz="1200">
                <a:solidFill>
                  <a:srgbClr val="FF0000"/>
                </a:solidFill>
              </a:defRPr>
            </a:lvl1pPr>
          </a:lstStyle>
          <a:p>
            <a:r>
              <a:rPr lang="en-US" dirty="0" smtClean="0"/>
              <a:t>Click icon to add picture</a:t>
            </a:r>
            <a:endParaRPr lang="en-US" dirty="0"/>
          </a:p>
        </p:txBody>
      </p:sp>
      <p:sp>
        <p:nvSpPr>
          <p:cNvPr id="8" name="Picture Placeholder 10">
            <a:extLst>
              <a:ext uri="{FF2B5EF4-FFF2-40B4-BE49-F238E27FC236}">
                <a16:creationId xmlns:a16="http://schemas.microsoft.com/office/drawing/2014/main" id="{B2831122-E8DB-534C-BD66-BD9BFD1BC822}"/>
              </a:ext>
            </a:extLst>
          </p:cNvPr>
          <p:cNvSpPr>
            <a:spLocks noGrp="1"/>
          </p:cNvSpPr>
          <p:nvPr>
            <p:ph type="pic" sz="quarter" idx="15"/>
          </p:nvPr>
        </p:nvSpPr>
        <p:spPr>
          <a:xfrm>
            <a:off x="8226965" y="3493742"/>
            <a:ext cx="3482436" cy="2627658"/>
          </a:xfrm>
          <a:solidFill>
            <a:srgbClr val="F0F0F0"/>
          </a:solidFill>
        </p:spPr>
        <p:txBody>
          <a:bodyPr/>
          <a:lstStyle>
            <a:lvl1pPr>
              <a:defRPr sz="1200">
                <a:solidFill>
                  <a:srgbClr val="FF0000"/>
                </a:solidFill>
              </a:defRPr>
            </a:lvl1pPr>
          </a:lstStyle>
          <a:p>
            <a:r>
              <a:rPr lang="en-US" dirty="0" smtClean="0"/>
              <a:t>Click icon to add picture</a:t>
            </a:r>
            <a:endParaRPr lang="en-US" dirty="0"/>
          </a:p>
        </p:txBody>
      </p:sp>
      <p:sp>
        <p:nvSpPr>
          <p:cNvPr id="3" name="Content Placeholder 2"/>
          <p:cNvSpPr>
            <a:spLocks noGrp="1"/>
          </p:cNvSpPr>
          <p:nvPr>
            <p:ph sz="half" idx="1"/>
          </p:nvPr>
        </p:nvSpPr>
        <p:spPr>
          <a:xfrm>
            <a:off x="485776" y="1609725"/>
            <a:ext cx="3578224" cy="4508499"/>
          </a:xfrm>
        </p:spPr>
        <p:txBody>
          <a:bodyPr/>
          <a:lstStyle>
            <a:lvl1pPr>
              <a:defRPr sz="1800"/>
            </a:lvl1pPr>
            <a:lvl2pPr>
              <a:defRPr sz="15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smtClean="0"/>
              <a:t>Edit Master text styles</a:t>
            </a:r>
          </a:p>
          <a:p>
            <a:pPr lvl="1"/>
            <a:r>
              <a:rPr lang="en-US" smtClean="0"/>
              <a:t>Second level</a:t>
            </a:r>
          </a:p>
        </p:txBody>
      </p:sp>
      <p:sp>
        <p:nvSpPr>
          <p:cNvPr id="13" name="Title 1">
            <a:extLst>
              <a:ext uri="{FF2B5EF4-FFF2-40B4-BE49-F238E27FC236}">
                <a16:creationId xmlns:a16="http://schemas.microsoft.com/office/drawing/2014/main" id="{B329BC4F-7509-4849-AAA2-704C43361D2E}"/>
              </a:ext>
            </a:extLst>
          </p:cNvPr>
          <p:cNvSpPr>
            <a:spLocks noGrp="1"/>
          </p:cNvSpPr>
          <p:nvPr>
            <p:ph type="title" hasCustomPrompt="1"/>
          </p:nvPr>
        </p:nvSpPr>
        <p:spPr>
          <a:xfrm>
            <a:off x="457201" y="355601"/>
            <a:ext cx="3606800" cy="752474"/>
          </a:xfrm>
        </p:spPr>
        <p:txBody>
          <a:bodyPr vert="horz"/>
          <a:lstStyle/>
          <a:p>
            <a:r>
              <a:rPr lang="en-US" dirty="0"/>
              <a:t>Click to add title</a:t>
            </a:r>
          </a:p>
        </p:txBody>
      </p:sp>
    </p:spTree>
    <p:extLst>
      <p:ext uri="{BB962C8B-B14F-4D97-AF65-F5344CB8AC3E}">
        <p14:creationId xmlns:p14="http://schemas.microsoft.com/office/powerpoint/2010/main" val="64382322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 Squar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28F8080-2DDB-8047-949E-EA88B51BED9A}"/>
              </a:ext>
            </a:extLst>
          </p:cNvPr>
          <p:cNvGraphicFramePr>
            <a:graphicFrameLocks noChangeAspect="1"/>
          </p:cNvGraphicFramePr>
          <p:nvPr>
            <p:custDataLst>
              <p:tags r:id="rId2"/>
            </p:custDataLst>
            <p:extLst>
              <p:ext uri="{D42A27DB-BD31-4B8C-83A1-F6EECF244321}">
                <p14:modId xmlns:p14="http://schemas.microsoft.com/office/powerpoint/2010/main" val="33025800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0775"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428F8080-2DDB-8047-949E-EA88B51BED9A}"/>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9" name="Title 1">
            <a:extLst>
              <a:ext uri="{FF2B5EF4-FFF2-40B4-BE49-F238E27FC236}">
                <a16:creationId xmlns:a16="http://schemas.microsoft.com/office/drawing/2014/main" id="{07528AAB-5505-3B4E-8BF6-F6444612DEDF}"/>
              </a:ext>
            </a:extLst>
          </p:cNvPr>
          <p:cNvSpPr>
            <a:spLocks noGrp="1"/>
          </p:cNvSpPr>
          <p:nvPr>
            <p:ph type="title" hasCustomPrompt="1"/>
          </p:nvPr>
        </p:nvSpPr>
        <p:spPr>
          <a:xfrm>
            <a:off x="457200" y="355601"/>
            <a:ext cx="11252199" cy="495299"/>
          </a:xfrm>
        </p:spPr>
        <p:txBody>
          <a:bodyPr vert="horz"/>
          <a:lstStyle/>
          <a:p>
            <a:r>
              <a:rPr lang="en-US" dirty="0"/>
              <a:t>Click to add title</a:t>
            </a:r>
          </a:p>
        </p:txBody>
      </p:sp>
      <p:sp>
        <p:nvSpPr>
          <p:cNvPr id="12" name="Text Placeholder 3">
            <a:extLst>
              <a:ext uri="{FF2B5EF4-FFF2-40B4-BE49-F238E27FC236}">
                <a16:creationId xmlns:a16="http://schemas.microsoft.com/office/drawing/2014/main" id="{D0AFCE9C-2323-C542-8AB3-51D29AAD0400}"/>
              </a:ext>
            </a:extLst>
          </p:cNvPr>
          <p:cNvSpPr>
            <a:spLocks noGrp="1"/>
          </p:cNvSpPr>
          <p:nvPr>
            <p:ph type="body" sz="half" idx="2"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
        <p:nvSpPr>
          <p:cNvPr id="13" name="Picture Placeholder 9">
            <a:extLst>
              <a:ext uri="{FF2B5EF4-FFF2-40B4-BE49-F238E27FC236}">
                <a16:creationId xmlns:a16="http://schemas.microsoft.com/office/drawing/2014/main" id="{B11D6A3E-C162-8842-B775-7875BEB0A85B}"/>
              </a:ext>
            </a:extLst>
          </p:cNvPr>
          <p:cNvSpPr>
            <a:spLocks noGrp="1" noChangeAspect="1"/>
          </p:cNvSpPr>
          <p:nvPr>
            <p:ph type="pic" sz="quarter" idx="10" hasCustomPrompt="1"/>
          </p:nvPr>
        </p:nvSpPr>
        <p:spPr>
          <a:xfrm>
            <a:off x="485776" y="1620838"/>
            <a:ext cx="3578224" cy="3578224"/>
          </a:xfrm>
          <a:prstGeom prst="rect">
            <a:avLst/>
          </a:prstGeom>
          <a:solidFill>
            <a:srgbClr val="F0F0F0"/>
          </a:solidFill>
        </p:spPr>
        <p:txBody>
          <a:bodyPr/>
          <a:lstStyle>
            <a:lvl1pPr algn="l">
              <a:defRPr sz="1200" baseline="0">
                <a:solidFill>
                  <a:srgbClr val="FF0000"/>
                </a:solidFill>
              </a:defRPr>
            </a:lvl1pPr>
          </a:lstStyle>
          <a:p>
            <a:r>
              <a:rPr lang="en-US" dirty="0" smtClean="0"/>
              <a:t>Click icon to add picture. Use “Crop” feature on “Format” tab to resize or reposition picture once added. Reset slide layout if needed.</a:t>
            </a:r>
            <a:endParaRPr lang="en-US" dirty="0"/>
          </a:p>
        </p:txBody>
      </p:sp>
      <p:sp>
        <p:nvSpPr>
          <p:cNvPr id="15" name="Subtitle 2">
            <a:extLst>
              <a:ext uri="{FF2B5EF4-FFF2-40B4-BE49-F238E27FC236}">
                <a16:creationId xmlns:a16="http://schemas.microsoft.com/office/drawing/2014/main" id="{8FB48F80-0958-024B-9A43-F726B5006EF6}"/>
              </a:ext>
            </a:extLst>
          </p:cNvPr>
          <p:cNvSpPr>
            <a:spLocks noGrp="1"/>
          </p:cNvSpPr>
          <p:nvPr>
            <p:ph type="subTitle" idx="1" hasCustomPrompt="1"/>
          </p:nvPr>
        </p:nvSpPr>
        <p:spPr>
          <a:xfrm>
            <a:off x="4312994" y="1557463"/>
            <a:ext cx="7396407" cy="318476"/>
          </a:xfrm>
        </p:spPr>
        <p:txBody>
          <a:bodyPr anchor="t"/>
          <a:lstStyle>
            <a:lvl1pPr marL="0" indent="0" algn="l">
              <a:spcBef>
                <a:spcPts val="0"/>
              </a:spcBef>
              <a:spcAft>
                <a:spcPts val="0"/>
              </a:spcAft>
              <a:buNone/>
              <a:defRPr sz="1800" b="1">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add name</a:t>
            </a:r>
          </a:p>
        </p:txBody>
      </p:sp>
      <p:sp>
        <p:nvSpPr>
          <p:cNvPr id="17" name="Text Placeholder 13">
            <a:extLst>
              <a:ext uri="{FF2B5EF4-FFF2-40B4-BE49-F238E27FC236}">
                <a16:creationId xmlns:a16="http://schemas.microsoft.com/office/drawing/2014/main" id="{3BB99F62-7394-5640-BBA6-EEFDE0FDFFB8}"/>
              </a:ext>
            </a:extLst>
          </p:cNvPr>
          <p:cNvSpPr>
            <a:spLocks noGrp="1"/>
          </p:cNvSpPr>
          <p:nvPr>
            <p:ph type="body" sz="quarter" idx="11"/>
          </p:nvPr>
        </p:nvSpPr>
        <p:spPr>
          <a:xfrm>
            <a:off x="4312994" y="2308118"/>
            <a:ext cx="7396406" cy="3813282"/>
          </a:xfrm>
        </p:spPr>
        <p:txBody>
          <a:bodyPr/>
          <a:lstStyle>
            <a:lvl1pPr>
              <a:defRPr sz="1500"/>
            </a:lvl1pPr>
            <a:lvl2pPr>
              <a:spcBef>
                <a:spcPts val="600"/>
              </a:spcBef>
              <a:defRPr sz="1500"/>
            </a:lvl2pPr>
            <a:lvl3pPr>
              <a:defRPr sz="1500"/>
            </a:lvl3pPr>
            <a:lvl4pPr>
              <a:defRPr sz="1500"/>
            </a:lvl4pPr>
            <a:lvl5pPr>
              <a:defRPr sz="1500"/>
            </a:lvl5pPr>
            <a:lvl6pPr>
              <a:defRPr/>
            </a:lvl6pPr>
            <a:lvl7pPr>
              <a:defRPr/>
            </a:lvl7pPr>
            <a:lvl8pPr>
              <a:defRPr/>
            </a:lvl8pPr>
          </a:lstStyle>
          <a:p>
            <a:pPr lvl="0"/>
            <a:r>
              <a:rPr lang="en-US" smtClean="0"/>
              <a:t>Edit Master text styles</a:t>
            </a:r>
          </a:p>
          <a:p>
            <a:pPr lvl="1"/>
            <a:r>
              <a:rPr lang="en-US" smtClean="0"/>
              <a:t>Second level</a:t>
            </a:r>
          </a:p>
        </p:txBody>
      </p:sp>
      <p:sp>
        <p:nvSpPr>
          <p:cNvPr id="18" name="Text Placeholder 3">
            <a:extLst>
              <a:ext uri="{FF2B5EF4-FFF2-40B4-BE49-F238E27FC236}">
                <a16:creationId xmlns:a16="http://schemas.microsoft.com/office/drawing/2014/main" id="{92D024BC-BC46-BB43-97CB-B9F7AB6B5787}"/>
              </a:ext>
            </a:extLst>
          </p:cNvPr>
          <p:cNvSpPr>
            <a:spLocks noGrp="1"/>
          </p:cNvSpPr>
          <p:nvPr>
            <p:ph type="body" sz="half" idx="12" hasCustomPrompt="1"/>
          </p:nvPr>
        </p:nvSpPr>
        <p:spPr>
          <a:xfrm>
            <a:off x="4312995" y="1875118"/>
            <a:ext cx="7396406" cy="318476"/>
          </a:xfrm>
        </p:spPr>
        <p:txBody>
          <a:bodyPr/>
          <a:lstStyle>
            <a:lvl1pPr marL="0" indent="0">
              <a:spcBef>
                <a:spcPts val="0"/>
              </a:spcBef>
              <a:spcAft>
                <a:spcPts val="0"/>
              </a:spcAft>
              <a:buNone/>
              <a:defRPr sz="18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Tree>
    <p:extLst>
      <p:ext uri="{BB962C8B-B14F-4D97-AF65-F5344CB8AC3E}">
        <p14:creationId xmlns:p14="http://schemas.microsoft.com/office/powerpoint/2010/main" val="174214328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 Square with Contact Info">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28F8080-2DDB-8047-949E-EA88B51BED9A}"/>
              </a:ext>
            </a:extLst>
          </p:cNvPr>
          <p:cNvGraphicFramePr>
            <a:graphicFrameLocks noChangeAspect="1"/>
          </p:cNvGraphicFramePr>
          <p:nvPr>
            <p:custDataLst>
              <p:tags r:id="rId2"/>
            </p:custDataLst>
            <p:extLst>
              <p:ext uri="{D42A27DB-BD31-4B8C-83A1-F6EECF244321}">
                <p14:modId xmlns:p14="http://schemas.microsoft.com/office/powerpoint/2010/main" val="41775710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1799"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428F8080-2DDB-8047-949E-EA88B51BED9A}"/>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FF1E2AC-3027-3048-8FE1-F9832E4FA9E1}"/>
              </a:ext>
            </a:extLst>
          </p:cNvPr>
          <p:cNvSpPr>
            <a:spLocks noGrp="1"/>
          </p:cNvSpPr>
          <p:nvPr>
            <p:ph type="title" hasCustomPrompt="1"/>
          </p:nvPr>
        </p:nvSpPr>
        <p:spPr>
          <a:xfrm>
            <a:off x="457200" y="355601"/>
            <a:ext cx="11252199" cy="495299"/>
          </a:xfrm>
        </p:spPr>
        <p:txBody>
          <a:bodyPr vert="horz"/>
          <a:lstStyle/>
          <a:p>
            <a:r>
              <a:rPr lang="en-US" dirty="0"/>
              <a:t>Click to add title</a:t>
            </a:r>
          </a:p>
        </p:txBody>
      </p:sp>
      <p:sp>
        <p:nvSpPr>
          <p:cNvPr id="6" name="Text Placeholder 3">
            <a:extLst>
              <a:ext uri="{FF2B5EF4-FFF2-40B4-BE49-F238E27FC236}">
                <a16:creationId xmlns:a16="http://schemas.microsoft.com/office/drawing/2014/main" id="{478E7F30-C13D-CC4E-B648-9CE1EDF3C6B8}"/>
              </a:ext>
            </a:extLst>
          </p:cNvPr>
          <p:cNvSpPr>
            <a:spLocks noGrp="1"/>
          </p:cNvSpPr>
          <p:nvPr>
            <p:ph type="body" sz="half" idx="2"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
        <p:nvSpPr>
          <p:cNvPr id="25" name="Picture Placeholder 9">
            <a:extLst>
              <a:ext uri="{FF2B5EF4-FFF2-40B4-BE49-F238E27FC236}">
                <a16:creationId xmlns:a16="http://schemas.microsoft.com/office/drawing/2014/main" id="{B11D6A3E-C162-8842-B775-7875BEB0A85B}"/>
              </a:ext>
            </a:extLst>
          </p:cNvPr>
          <p:cNvSpPr>
            <a:spLocks noGrp="1" noChangeAspect="1"/>
          </p:cNvSpPr>
          <p:nvPr>
            <p:ph type="pic" sz="quarter" idx="10" hasCustomPrompt="1"/>
          </p:nvPr>
        </p:nvSpPr>
        <p:spPr>
          <a:xfrm>
            <a:off x="485776" y="1620838"/>
            <a:ext cx="2286000" cy="2286000"/>
          </a:xfrm>
          <a:prstGeom prst="rect">
            <a:avLst/>
          </a:prstGeom>
          <a:solidFill>
            <a:srgbClr val="F0F0F0"/>
          </a:solidFill>
        </p:spPr>
        <p:txBody>
          <a:bodyPr/>
          <a:lstStyle>
            <a:lvl1pPr algn="l">
              <a:defRPr sz="1200" baseline="0">
                <a:solidFill>
                  <a:srgbClr val="FF0000"/>
                </a:solidFill>
              </a:defRPr>
            </a:lvl1pPr>
          </a:lstStyle>
          <a:p>
            <a:r>
              <a:rPr lang="en-US" dirty="0" smtClean="0"/>
              <a:t>Click icon to add picture. Use “Crop” feature on “Format” tab to resize or reposition picture once added. Reset slide layout if needed.</a:t>
            </a:r>
            <a:endParaRPr lang="en-US" dirty="0"/>
          </a:p>
        </p:txBody>
      </p:sp>
      <p:sp>
        <p:nvSpPr>
          <p:cNvPr id="26" name="Subtitle 2">
            <a:extLst>
              <a:ext uri="{FF2B5EF4-FFF2-40B4-BE49-F238E27FC236}">
                <a16:creationId xmlns:a16="http://schemas.microsoft.com/office/drawing/2014/main" id="{8FB48F80-0958-024B-9A43-F726B5006EF6}"/>
              </a:ext>
            </a:extLst>
          </p:cNvPr>
          <p:cNvSpPr>
            <a:spLocks noGrp="1"/>
          </p:cNvSpPr>
          <p:nvPr>
            <p:ph type="subTitle" idx="1" hasCustomPrompt="1"/>
          </p:nvPr>
        </p:nvSpPr>
        <p:spPr>
          <a:xfrm>
            <a:off x="485777" y="4208554"/>
            <a:ext cx="2628900" cy="318476"/>
          </a:xfrm>
        </p:spPr>
        <p:txBody>
          <a:bodyPr anchor="t"/>
          <a:lstStyle>
            <a:lvl1pPr marL="0" indent="0" algn="l">
              <a:spcBef>
                <a:spcPts val="0"/>
              </a:spcBef>
              <a:spcAft>
                <a:spcPts val="0"/>
              </a:spcAft>
              <a:buNone/>
              <a:defRPr sz="1800" b="1">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add name</a:t>
            </a:r>
          </a:p>
        </p:txBody>
      </p:sp>
      <p:sp>
        <p:nvSpPr>
          <p:cNvPr id="27" name="Text Placeholder 13">
            <a:extLst>
              <a:ext uri="{FF2B5EF4-FFF2-40B4-BE49-F238E27FC236}">
                <a16:creationId xmlns:a16="http://schemas.microsoft.com/office/drawing/2014/main" id="{3BB99F62-7394-5640-BBA6-EEFDE0FDFFB8}"/>
              </a:ext>
            </a:extLst>
          </p:cNvPr>
          <p:cNvSpPr>
            <a:spLocks noGrp="1"/>
          </p:cNvSpPr>
          <p:nvPr>
            <p:ph type="body" sz="quarter" idx="11"/>
          </p:nvPr>
        </p:nvSpPr>
        <p:spPr>
          <a:xfrm>
            <a:off x="3464560" y="1576488"/>
            <a:ext cx="8244840" cy="4544911"/>
          </a:xfrm>
        </p:spPr>
        <p:txBody>
          <a:bodyPr/>
          <a:lstStyle>
            <a:lvl1pPr>
              <a:defRPr sz="1500"/>
            </a:lvl1pPr>
            <a:lvl2pPr>
              <a:spcBef>
                <a:spcPts val="600"/>
              </a:spcBef>
              <a:defRPr sz="1500"/>
            </a:lvl2pPr>
            <a:lvl3pPr>
              <a:defRPr sz="1500"/>
            </a:lvl3pPr>
            <a:lvl4pPr>
              <a:defRPr sz="1500"/>
            </a:lvl4pPr>
            <a:lvl5pPr>
              <a:defRPr sz="1500"/>
            </a:lvl5pPr>
            <a:lvl6pPr>
              <a:defRPr/>
            </a:lvl6pPr>
            <a:lvl7pPr>
              <a:defRPr/>
            </a:lvl7pPr>
            <a:lvl8pPr>
              <a:defRPr/>
            </a:lvl8pPr>
          </a:lstStyle>
          <a:p>
            <a:pPr lvl="0"/>
            <a:r>
              <a:rPr lang="en-US" smtClean="0"/>
              <a:t>Edit Master text styles</a:t>
            </a:r>
          </a:p>
          <a:p>
            <a:pPr lvl="1"/>
            <a:r>
              <a:rPr lang="en-US" smtClean="0"/>
              <a:t>Second level</a:t>
            </a:r>
          </a:p>
        </p:txBody>
      </p:sp>
      <p:sp>
        <p:nvSpPr>
          <p:cNvPr id="28" name="Text Placeholder 3">
            <a:extLst>
              <a:ext uri="{FF2B5EF4-FFF2-40B4-BE49-F238E27FC236}">
                <a16:creationId xmlns:a16="http://schemas.microsoft.com/office/drawing/2014/main" id="{92D024BC-BC46-BB43-97CB-B9F7AB6B5787}"/>
              </a:ext>
            </a:extLst>
          </p:cNvPr>
          <p:cNvSpPr>
            <a:spLocks noGrp="1"/>
          </p:cNvSpPr>
          <p:nvPr>
            <p:ph type="body" sz="half" idx="12" hasCustomPrompt="1"/>
          </p:nvPr>
        </p:nvSpPr>
        <p:spPr>
          <a:xfrm>
            <a:off x="485777" y="4526209"/>
            <a:ext cx="2628900" cy="318476"/>
          </a:xfrm>
        </p:spPr>
        <p:txBody>
          <a:bodyPr/>
          <a:lstStyle>
            <a:lvl1pPr marL="0" indent="0">
              <a:spcBef>
                <a:spcPts val="0"/>
              </a:spcBef>
              <a:spcAft>
                <a:spcPts val="0"/>
              </a:spcAft>
              <a:buNone/>
              <a:defRPr sz="18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29" name="Text Placeholder 3">
            <a:extLst>
              <a:ext uri="{FF2B5EF4-FFF2-40B4-BE49-F238E27FC236}">
                <a16:creationId xmlns:a16="http://schemas.microsoft.com/office/drawing/2014/main" id="{92D024BC-BC46-BB43-97CB-B9F7AB6B5787}"/>
              </a:ext>
            </a:extLst>
          </p:cNvPr>
          <p:cNvSpPr>
            <a:spLocks noGrp="1"/>
          </p:cNvSpPr>
          <p:nvPr>
            <p:ph type="body" sz="half" idx="13" hasCustomPrompt="1"/>
          </p:nvPr>
        </p:nvSpPr>
        <p:spPr>
          <a:xfrm>
            <a:off x="482600" y="5034781"/>
            <a:ext cx="2628900" cy="1086618"/>
          </a:xfrm>
        </p:spPr>
        <p:txBody>
          <a:bodyPr/>
          <a:lstStyle>
            <a:lvl1pPr marL="0" indent="0">
              <a:spcBef>
                <a:spcPts val="0"/>
              </a:spcBef>
              <a:spcAft>
                <a:spcPts val="0"/>
              </a:spcAft>
              <a:buNone/>
              <a:defRPr sz="1400" b="0" baseline="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Location</a:t>
            </a:r>
          </a:p>
          <a:p>
            <a:pPr lvl="0"/>
            <a:r>
              <a:rPr lang="en-US" dirty="0" smtClean="0"/>
              <a:t>Phone Number </a:t>
            </a:r>
          </a:p>
          <a:p>
            <a:pPr lvl="0"/>
            <a:r>
              <a:rPr lang="en-US" dirty="0" smtClean="0"/>
              <a:t>Email</a:t>
            </a:r>
            <a:endParaRPr lang="en-US" dirty="0"/>
          </a:p>
        </p:txBody>
      </p:sp>
    </p:spTree>
    <p:extLst>
      <p:ext uri="{BB962C8B-B14F-4D97-AF65-F5344CB8AC3E}">
        <p14:creationId xmlns:p14="http://schemas.microsoft.com/office/powerpoint/2010/main" val="210113623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 Squar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28F8080-2DDB-8047-949E-EA88B51BED9A}"/>
              </a:ext>
            </a:extLst>
          </p:cNvPr>
          <p:cNvGraphicFramePr>
            <a:graphicFrameLocks noChangeAspect="1"/>
          </p:cNvGraphicFramePr>
          <p:nvPr>
            <p:custDataLst>
              <p:tags r:id="rId2"/>
            </p:custDataLst>
            <p:extLst>
              <p:ext uri="{D42A27DB-BD31-4B8C-83A1-F6EECF244321}">
                <p14:modId xmlns:p14="http://schemas.microsoft.com/office/powerpoint/2010/main" val="379476081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2823"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428F8080-2DDB-8047-949E-EA88B51BED9A}"/>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5" name="Title 1">
            <a:extLst>
              <a:ext uri="{FF2B5EF4-FFF2-40B4-BE49-F238E27FC236}">
                <a16:creationId xmlns:a16="http://schemas.microsoft.com/office/drawing/2014/main" id="{1A557E69-B948-EE4F-8D3C-094A819B91FC}"/>
              </a:ext>
            </a:extLst>
          </p:cNvPr>
          <p:cNvSpPr>
            <a:spLocks noGrp="1"/>
          </p:cNvSpPr>
          <p:nvPr>
            <p:ph type="title" hasCustomPrompt="1"/>
          </p:nvPr>
        </p:nvSpPr>
        <p:spPr>
          <a:xfrm>
            <a:off x="457200" y="355601"/>
            <a:ext cx="11252199" cy="495299"/>
          </a:xfrm>
        </p:spPr>
        <p:txBody>
          <a:bodyPr vert="horz"/>
          <a:lstStyle/>
          <a:p>
            <a:r>
              <a:rPr lang="en-US" dirty="0"/>
              <a:t>Click to add title</a:t>
            </a:r>
          </a:p>
        </p:txBody>
      </p:sp>
      <p:sp>
        <p:nvSpPr>
          <p:cNvPr id="26" name="Text Placeholder 3">
            <a:extLst>
              <a:ext uri="{FF2B5EF4-FFF2-40B4-BE49-F238E27FC236}">
                <a16:creationId xmlns:a16="http://schemas.microsoft.com/office/drawing/2014/main" id="{E15F6C54-7BEE-0A47-9C13-2AD0DEE8A171}"/>
              </a:ext>
            </a:extLst>
          </p:cNvPr>
          <p:cNvSpPr>
            <a:spLocks noGrp="1"/>
          </p:cNvSpPr>
          <p:nvPr>
            <p:ph type="body" sz="half" idx="2"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
        <p:nvSpPr>
          <p:cNvPr id="27" name="Picture Placeholder 9">
            <a:extLst>
              <a:ext uri="{FF2B5EF4-FFF2-40B4-BE49-F238E27FC236}">
                <a16:creationId xmlns:a16="http://schemas.microsoft.com/office/drawing/2014/main" id="{B11D6A3E-C162-8842-B775-7875BEB0A85B}"/>
              </a:ext>
            </a:extLst>
          </p:cNvPr>
          <p:cNvSpPr>
            <a:spLocks noGrp="1" noChangeAspect="1"/>
          </p:cNvSpPr>
          <p:nvPr>
            <p:ph type="pic" sz="quarter" idx="10" hasCustomPrompt="1"/>
          </p:nvPr>
        </p:nvSpPr>
        <p:spPr>
          <a:xfrm>
            <a:off x="485776" y="1620838"/>
            <a:ext cx="1673224" cy="1673352"/>
          </a:xfrm>
          <a:prstGeom prst="rect">
            <a:avLst/>
          </a:prstGeom>
          <a:solidFill>
            <a:srgbClr val="F0F0F0"/>
          </a:solidFill>
        </p:spPr>
        <p:txBody>
          <a:bodyPr/>
          <a:lstStyle>
            <a:lvl1pPr algn="l">
              <a:defRPr sz="1200" baseline="0">
                <a:solidFill>
                  <a:srgbClr val="FF0000"/>
                </a:solidFill>
              </a:defRPr>
            </a:lvl1pPr>
          </a:lstStyle>
          <a:p>
            <a:r>
              <a:rPr lang="en-US" dirty="0" smtClean="0"/>
              <a:t>Click icon to add picture. Use “Crop” feature on “Format” tab to resize or reposition picture once added. Reset slide layout if needed.</a:t>
            </a:r>
            <a:endParaRPr lang="en-US" dirty="0"/>
          </a:p>
        </p:txBody>
      </p:sp>
      <p:sp>
        <p:nvSpPr>
          <p:cNvPr id="28" name="Picture Placeholder 9">
            <a:extLst>
              <a:ext uri="{FF2B5EF4-FFF2-40B4-BE49-F238E27FC236}">
                <a16:creationId xmlns:a16="http://schemas.microsoft.com/office/drawing/2014/main" id="{81BCBFF4-D53A-EE49-B80C-42E4092B9A5D}"/>
              </a:ext>
            </a:extLst>
          </p:cNvPr>
          <p:cNvSpPr>
            <a:spLocks noGrp="1" noChangeAspect="1"/>
          </p:cNvSpPr>
          <p:nvPr>
            <p:ph type="pic" sz="quarter" idx="13" hasCustomPrompt="1"/>
          </p:nvPr>
        </p:nvSpPr>
        <p:spPr>
          <a:xfrm>
            <a:off x="6217381" y="1620838"/>
            <a:ext cx="1669319" cy="1673352"/>
          </a:xfrm>
          <a:prstGeom prst="rect">
            <a:avLst/>
          </a:prstGeom>
          <a:solidFill>
            <a:srgbClr val="F0F0F0"/>
          </a:solidFill>
        </p:spPr>
        <p:txBody>
          <a:bodyPr/>
          <a:lstStyle>
            <a:lvl1pPr algn="l">
              <a:defRPr sz="1200">
                <a:solidFill>
                  <a:srgbClr val="FF0000"/>
                </a:solidFill>
              </a:defRPr>
            </a:lvl1pPr>
          </a:lstStyle>
          <a:p>
            <a:r>
              <a:rPr lang="en-US" dirty="0" smtClean="0"/>
              <a:t>Click icon to add picture. Use “Crop” feature on “Format” tab to resize or reposition picture once added. Reset slide layout if needed.</a:t>
            </a:r>
            <a:endParaRPr lang="en-US" dirty="0"/>
          </a:p>
        </p:txBody>
      </p:sp>
      <p:sp>
        <p:nvSpPr>
          <p:cNvPr id="29" name="Text Placeholder 3">
            <a:extLst>
              <a:ext uri="{FF2B5EF4-FFF2-40B4-BE49-F238E27FC236}">
                <a16:creationId xmlns:a16="http://schemas.microsoft.com/office/drawing/2014/main" id="{C6C837E2-475A-A145-AA15-49D3FF505DE4}"/>
              </a:ext>
            </a:extLst>
          </p:cNvPr>
          <p:cNvSpPr>
            <a:spLocks noGrp="1"/>
          </p:cNvSpPr>
          <p:nvPr>
            <p:ph type="body" sz="half" idx="16" hasCustomPrompt="1"/>
          </p:nvPr>
        </p:nvSpPr>
        <p:spPr>
          <a:xfrm>
            <a:off x="6226174" y="3548674"/>
            <a:ext cx="5495924" cy="318476"/>
          </a:xfrm>
        </p:spPr>
        <p:txBody>
          <a:bodyPr/>
          <a:lstStyle>
            <a:lvl1pPr marL="0" indent="0">
              <a:spcBef>
                <a:spcPts val="0"/>
              </a:spcBef>
              <a:spcAft>
                <a:spcPts val="0"/>
              </a:spcAft>
              <a:buNone/>
              <a:defRPr sz="18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30" name="Text Placeholder 3">
            <a:extLst>
              <a:ext uri="{FF2B5EF4-FFF2-40B4-BE49-F238E27FC236}">
                <a16:creationId xmlns:a16="http://schemas.microsoft.com/office/drawing/2014/main" id="{0FBA2C31-7999-0247-BDEF-C988E29E50AE}"/>
              </a:ext>
            </a:extLst>
          </p:cNvPr>
          <p:cNvSpPr>
            <a:spLocks noGrp="1"/>
          </p:cNvSpPr>
          <p:nvPr>
            <p:ph type="body" sz="half" idx="17" hasCustomPrompt="1"/>
          </p:nvPr>
        </p:nvSpPr>
        <p:spPr>
          <a:xfrm>
            <a:off x="485777" y="3548674"/>
            <a:ext cx="5495924" cy="318476"/>
          </a:xfrm>
        </p:spPr>
        <p:txBody>
          <a:bodyPr/>
          <a:lstStyle>
            <a:lvl1pPr marL="0" indent="0">
              <a:spcBef>
                <a:spcPts val="0"/>
              </a:spcBef>
              <a:spcAft>
                <a:spcPts val="0"/>
              </a:spcAft>
              <a:buNone/>
              <a:defRPr sz="18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31" name="Text Placeholder 13">
            <a:extLst>
              <a:ext uri="{FF2B5EF4-FFF2-40B4-BE49-F238E27FC236}">
                <a16:creationId xmlns:a16="http://schemas.microsoft.com/office/drawing/2014/main" id="{3BB99F62-7394-5640-BBA6-EEFDE0FDFFB8}"/>
              </a:ext>
            </a:extLst>
          </p:cNvPr>
          <p:cNvSpPr>
            <a:spLocks noGrp="1"/>
          </p:cNvSpPr>
          <p:nvPr>
            <p:ph type="body" sz="quarter" idx="11"/>
          </p:nvPr>
        </p:nvSpPr>
        <p:spPr>
          <a:xfrm>
            <a:off x="6226176" y="4319152"/>
            <a:ext cx="5495922" cy="1802248"/>
          </a:xfrm>
        </p:spPr>
        <p:txBody>
          <a:bodyPr/>
          <a:lstStyle>
            <a:lvl1pPr>
              <a:defRPr sz="1500"/>
            </a:lvl1pPr>
            <a:lvl2pPr>
              <a:spcBef>
                <a:spcPts val="600"/>
              </a:spcBef>
              <a:defRPr sz="1500"/>
            </a:lvl2pPr>
            <a:lvl3pPr>
              <a:defRPr sz="1500"/>
            </a:lvl3pPr>
            <a:lvl4pPr>
              <a:defRPr sz="1500"/>
            </a:lvl4pPr>
            <a:lvl5pPr>
              <a:defRPr sz="1500"/>
            </a:lvl5pPr>
            <a:lvl6pPr>
              <a:defRPr/>
            </a:lvl6pPr>
          </a:lstStyle>
          <a:p>
            <a:pPr lvl="0"/>
            <a:r>
              <a:rPr lang="en-US" smtClean="0"/>
              <a:t>Edit Master text styles</a:t>
            </a:r>
          </a:p>
          <a:p>
            <a:pPr lvl="1"/>
            <a:r>
              <a:rPr lang="en-US" smtClean="0"/>
              <a:t>Second level</a:t>
            </a:r>
          </a:p>
        </p:txBody>
      </p:sp>
      <p:sp>
        <p:nvSpPr>
          <p:cNvPr id="32" name="Text Placeholder 3">
            <a:extLst>
              <a:ext uri="{FF2B5EF4-FFF2-40B4-BE49-F238E27FC236}">
                <a16:creationId xmlns:a16="http://schemas.microsoft.com/office/drawing/2014/main" id="{92D024BC-BC46-BB43-97CB-B9F7AB6B5787}"/>
              </a:ext>
            </a:extLst>
          </p:cNvPr>
          <p:cNvSpPr>
            <a:spLocks noGrp="1"/>
          </p:cNvSpPr>
          <p:nvPr>
            <p:ph type="body" sz="half" idx="12" hasCustomPrompt="1"/>
          </p:nvPr>
        </p:nvSpPr>
        <p:spPr>
          <a:xfrm>
            <a:off x="6226174" y="3866329"/>
            <a:ext cx="5495924" cy="318476"/>
          </a:xfrm>
        </p:spPr>
        <p:txBody>
          <a:bodyPr/>
          <a:lstStyle>
            <a:lvl1pPr marL="0" indent="0">
              <a:spcBef>
                <a:spcPts val="0"/>
              </a:spcBef>
              <a:spcAft>
                <a:spcPts val="0"/>
              </a:spcAft>
              <a:buNone/>
              <a:defRPr sz="18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33" name="Text Placeholder 13">
            <a:extLst>
              <a:ext uri="{FF2B5EF4-FFF2-40B4-BE49-F238E27FC236}">
                <a16:creationId xmlns:a16="http://schemas.microsoft.com/office/drawing/2014/main" id="{FA11E823-0F61-B144-9A65-89A2F749C474}"/>
              </a:ext>
            </a:extLst>
          </p:cNvPr>
          <p:cNvSpPr>
            <a:spLocks noGrp="1"/>
          </p:cNvSpPr>
          <p:nvPr>
            <p:ph type="body" sz="quarter" idx="14"/>
          </p:nvPr>
        </p:nvSpPr>
        <p:spPr>
          <a:xfrm>
            <a:off x="485779" y="4319152"/>
            <a:ext cx="5495922" cy="1802248"/>
          </a:xfrm>
        </p:spPr>
        <p:txBody>
          <a:bodyPr/>
          <a:lstStyle>
            <a:lvl1pPr>
              <a:defRPr sz="1500"/>
            </a:lvl1pPr>
            <a:lvl2pPr>
              <a:spcBef>
                <a:spcPts val="600"/>
              </a:spcBef>
              <a:defRPr sz="1500"/>
            </a:lvl2pPr>
            <a:lvl3pPr>
              <a:defRPr sz="1500"/>
            </a:lvl3pPr>
            <a:lvl4pPr>
              <a:defRPr sz="1500"/>
            </a:lvl4pPr>
            <a:lvl5pPr>
              <a:defRPr sz="1500"/>
            </a:lvl5pPr>
          </a:lstStyle>
          <a:p>
            <a:pPr lvl="0"/>
            <a:r>
              <a:rPr lang="en-US" smtClean="0"/>
              <a:t>Edit Master text styles</a:t>
            </a:r>
          </a:p>
          <a:p>
            <a:pPr lvl="1"/>
            <a:r>
              <a:rPr lang="en-US" smtClean="0"/>
              <a:t>Second level</a:t>
            </a:r>
          </a:p>
        </p:txBody>
      </p:sp>
      <p:sp>
        <p:nvSpPr>
          <p:cNvPr id="34" name="Text Placeholder 3">
            <a:extLst>
              <a:ext uri="{FF2B5EF4-FFF2-40B4-BE49-F238E27FC236}">
                <a16:creationId xmlns:a16="http://schemas.microsoft.com/office/drawing/2014/main" id="{0FB319D6-4FDF-8B4F-9021-D082FAC7B9B2}"/>
              </a:ext>
            </a:extLst>
          </p:cNvPr>
          <p:cNvSpPr>
            <a:spLocks noGrp="1"/>
          </p:cNvSpPr>
          <p:nvPr>
            <p:ph type="body" sz="half" idx="15" hasCustomPrompt="1"/>
          </p:nvPr>
        </p:nvSpPr>
        <p:spPr>
          <a:xfrm>
            <a:off x="485777" y="3866329"/>
            <a:ext cx="5495924" cy="318476"/>
          </a:xfrm>
        </p:spPr>
        <p:txBody>
          <a:bodyPr/>
          <a:lstStyle>
            <a:lvl1pPr marL="0" indent="0">
              <a:spcBef>
                <a:spcPts val="0"/>
              </a:spcBef>
              <a:spcAft>
                <a:spcPts val="0"/>
              </a:spcAft>
              <a:buNone/>
              <a:defRPr sz="18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Tree>
    <p:extLst>
      <p:ext uri="{BB962C8B-B14F-4D97-AF65-F5344CB8AC3E}">
        <p14:creationId xmlns:p14="http://schemas.microsoft.com/office/powerpoint/2010/main" val="150028402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3 Squar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28F8080-2DDB-8047-949E-EA88B51BED9A}"/>
              </a:ext>
            </a:extLst>
          </p:cNvPr>
          <p:cNvGraphicFramePr>
            <a:graphicFrameLocks noChangeAspect="1"/>
          </p:cNvGraphicFramePr>
          <p:nvPr>
            <p:custDataLst>
              <p:tags r:id="rId2"/>
            </p:custDataLst>
            <p:extLst>
              <p:ext uri="{D42A27DB-BD31-4B8C-83A1-F6EECF244321}">
                <p14:modId xmlns:p14="http://schemas.microsoft.com/office/powerpoint/2010/main" val="10601335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3847"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428F8080-2DDB-8047-949E-EA88B51BED9A}"/>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9" name="Title 1">
            <a:extLst>
              <a:ext uri="{FF2B5EF4-FFF2-40B4-BE49-F238E27FC236}">
                <a16:creationId xmlns:a16="http://schemas.microsoft.com/office/drawing/2014/main" id="{7AA2A475-59E8-7C47-A042-7D18D3F485F0}"/>
              </a:ext>
            </a:extLst>
          </p:cNvPr>
          <p:cNvSpPr>
            <a:spLocks noGrp="1"/>
          </p:cNvSpPr>
          <p:nvPr>
            <p:ph type="title" hasCustomPrompt="1"/>
          </p:nvPr>
        </p:nvSpPr>
        <p:spPr>
          <a:xfrm>
            <a:off x="457200" y="355601"/>
            <a:ext cx="11252199" cy="495299"/>
          </a:xfrm>
        </p:spPr>
        <p:txBody>
          <a:bodyPr vert="horz"/>
          <a:lstStyle/>
          <a:p>
            <a:r>
              <a:rPr lang="en-US" dirty="0"/>
              <a:t>Click to add title</a:t>
            </a:r>
          </a:p>
        </p:txBody>
      </p:sp>
      <p:sp>
        <p:nvSpPr>
          <p:cNvPr id="30" name="Text Placeholder 3">
            <a:extLst>
              <a:ext uri="{FF2B5EF4-FFF2-40B4-BE49-F238E27FC236}">
                <a16:creationId xmlns:a16="http://schemas.microsoft.com/office/drawing/2014/main" id="{89251D6D-CA0A-B446-980B-987AD0954011}"/>
              </a:ext>
            </a:extLst>
          </p:cNvPr>
          <p:cNvSpPr>
            <a:spLocks noGrp="1"/>
          </p:cNvSpPr>
          <p:nvPr>
            <p:ph type="body" sz="half" idx="2"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
        <p:nvSpPr>
          <p:cNvPr id="31" name="Picture Placeholder 9">
            <a:extLst>
              <a:ext uri="{FF2B5EF4-FFF2-40B4-BE49-F238E27FC236}">
                <a16:creationId xmlns:a16="http://schemas.microsoft.com/office/drawing/2014/main" id="{B11D6A3E-C162-8842-B775-7875BEB0A85B}"/>
              </a:ext>
            </a:extLst>
          </p:cNvPr>
          <p:cNvSpPr>
            <a:spLocks noGrp="1" noChangeAspect="1"/>
          </p:cNvSpPr>
          <p:nvPr>
            <p:ph type="pic" sz="quarter" idx="10" hasCustomPrompt="1"/>
          </p:nvPr>
        </p:nvSpPr>
        <p:spPr>
          <a:xfrm>
            <a:off x="485776" y="1620838"/>
            <a:ext cx="1673352" cy="1673352"/>
          </a:xfrm>
          <a:prstGeom prst="rect">
            <a:avLst/>
          </a:prstGeom>
          <a:solidFill>
            <a:srgbClr val="F0F0F0"/>
          </a:solidFill>
        </p:spPr>
        <p:txBody>
          <a:bodyPr/>
          <a:lstStyle>
            <a:lvl1pPr algn="l">
              <a:defRPr sz="1200">
                <a:solidFill>
                  <a:srgbClr val="FF0000"/>
                </a:solidFill>
              </a:defRPr>
            </a:lvl1pPr>
          </a:lstStyle>
          <a:p>
            <a:r>
              <a:rPr lang="en-US" dirty="0" smtClean="0"/>
              <a:t>Click icon to add picture. Use “Crop” feature on “Format” tab to resize or reposition picture once added. Reset slide layout if needed.</a:t>
            </a:r>
            <a:endParaRPr lang="en-US" dirty="0"/>
          </a:p>
        </p:txBody>
      </p:sp>
      <p:sp>
        <p:nvSpPr>
          <p:cNvPr id="32" name="Picture Placeholder 9">
            <a:extLst>
              <a:ext uri="{FF2B5EF4-FFF2-40B4-BE49-F238E27FC236}">
                <a16:creationId xmlns:a16="http://schemas.microsoft.com/office/drawing/2014/main" id="{81BCBFF4-D53A-EE49-B80C-42E4092B9A5D}"/>
              </a:ext>
            </a:extLst>
          </p:cNvPr>
          <p:cNvSpPr>
            <a:spLocks noGrp="1" noChangeAspect="1"/>
          </p:cNvSpPr>
          <p:nvPr>
            <p:ph type="pic" sz="quarter" idx="13" hasCustomPrompt="1"/>
          </p:nvPr>
        </p:nvSpPr>
        <p:spPr>
          <a:xfrm>
            <a:off x="4308478" y="1620838"/>
            <a:ext cx="1673352" cy="1673352"/>
          </a:xfrm>
          <a:prstGeom prst="rect">
            <a:avLst/>
          </a:prstGeom>
          <a:solidFill>
            <a:srgbClr val="F0F0F0"/>
          </a:solidFill>
        </p:spPr>
        <p:txBody>
          <a:bodyPr/>
          <a:lstStyle>
            <a:lvl1pPr marL="0" marR="0" indent="0" algn="l" defTabSz="457200" rtl="0" eaLnBrk="1" fontAlgn="auto" latinLnBrk="0" hangingPunct="1">
              <a:lnSpc>
                <a:spcPct val="100000"/>
              </a:lnSpc>
              <a:spcBef>
                <a:spcPts val="1200"/>
              </a:spcBef>
              <a:spcAft>
                <a:spcPts val="600"/>
              </a:spcAft>
              <a:buClrTx/>
              <a:buSzTx/>
              <a:buFont typeface="Arial"/>
              <a:buNone/>
              <a:tabLst/>
              <a:defRPr sz="1200">
                <a:solidFill>
                  <a:srgbClr val="FF0000"/>
                </a:solidFill>
              </a:defRPr>
            </a:lvl1pPr>
          </a:lstStyle>
          <a:p>
            <a:r>
              <a:rPr lang="en-US" dirty="0" smtClean="0"/>
              <a:t>Click icon to add picture. Use “Crop” feature on “Format” tab to resize or reposition picture once added. Reset slide layout if needed.</a:t>
            </a:r>
            <a:endParaRPr lang="en-US" dirty="0"/>
          </a:p>
        </p:txBody>
      </p:sp>
      <p:sp>
        <p:nvSpPr>
          <p:cNvPr id="33" name="Text Placeholder 3">
            <a:extLst>
              <a:ext uri="{FF2B5EF4-FFF2-40B4-BE49-F238E27FC236}">
                <a16:creationId xmlns:a16="http://schemas.microsoft.com/office/drawing/2014/main" id="{C6C837E2-475A-A145-AA15-49D3FF505DE4}"/>
              </a:ext>
            </a:extLst>
          </p:cNvPr>
          <p:cNvSpPr>
            <a:spLocks noGrp="1"/>
          </p:cNvSpPr>
          <p:nvPr>
            <p:ph type="body" sz="half" idx="16" hasCustomPrompt="1"/>
          </p:nvPr>
        </p:nvSpPr>
        <p:spPr>
          <a:xfrm>
            <a:off x="4305301" y="3548674"/>
            <a:ext cx="3581400" cy="318476"/>
          </a:xfrm>
        </p:spPr>
        <p:txBody>
          <a:bodyPr/>
          <a:lstStyle>
            <a:lvl1pPr marL="0" indent="0">
              <a:spcBef>
                <a:spcPts val="0"/>
              </a:spcBef>
              <a:spcAft>
                <a:spcPts val="0"/>
              </a:spcAft>
              <a:buNone/>
              <a:defRPr sz="18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34" name="Text Placeholder 3">
            <a:extLst>
              <a:ext uri="{FF2B5EF4-FFF2-40B4-BE49-F238E27FC236}">
                <a16:creationId xmlns:a16="http://schemas.microsoft.com/office/drawing/2014/main" id="{0FBA2C31-7999-0247-BDEF-C988E29E50AE}"/>
              </a:ext>
            </a:extLst>
          </p:cNvPr>
          <p:cNvSpPr>
            <a:spLocks noGrp="1"/>
          </p:cNvSpPr>
          <p:nvPr>
            <p:ph type="body" sz="half" idx="17" hasCustomPrompt="1"/>
          </p:nvPr>
        </p:nvSpPr>
        <p:spPr>
          <a:xfrm>
            <a:off x="485777" y="3548674"/>
            <a:ext cx="3578223" cy="318476"/>
          </a:xfrm>
        </p:spPr>
        <p:txBody>
          <a:bodyPr/>
          <a:lstStyle>
            <a:lvl1pPr marL="0" indent="0">
              <a:spcBef>
                <a:spcPts val="0"/>
              </a:spcBef>
              <a:spcAft>
                <a:spcPts val="0"/>
              </a:spcAft>
              <a:buNone/>
              <a:defRPr sz="18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35" name="Text Placeholder 13">
            <a:extLst>
              <a:ext uri="{FF2B5EF4-FFF2-40B4-BE49-F238E27FC236}">
                <a16:creationId xmlns:a16="http://schemas.microsoft.com/office/drawing/2014/main" id="{3BB99F62-7394-5640-BBA6-EEFDE0FDFFB8}"/>
              </a:ext>
            </a:extLst>
          </p:cNvPr>
          <p:cNvSpPr>
            <a:spLocks noGrp="1"/>
          </p:cNvSpPr>
          <p:nvPr>
            <p:ph type="body" sz="quarter" idx="11"/>
          </p:nvPr>
        </p:nvSpPr>
        <p:spPr>
          <a:xfrm>
            <a:off x="4305303" y="4319152"/>
            <a:ext cx="3581399" cy="1802248"/>
          </a:xfrm>
        </p:spPr>
        <p:txBody>
          <a:bodyPr/>
          <a:lstStyle>
            <a:lvl1pPr>
              <a:defRPr sz="1500"/>
            </a:lvl1pPr>
            <a:lvl2pPr>
              <a:spcBef>
                <a:spcPts val="600"/>
              </a:spcBef>
              <a:defRPr sz="1500"/>
            </a:lvl2pPr>
            <a:lvl3pPr>
              <a:defRPr sz="1500"/>
            </a:lvl3pPr>
            <a:lvl4pPr>
              <a:defRPr sz="1500"/>
            </a:lvl4pPr>
            <a:lvl5pPr>
              <a:defRPr sz="1500"/>
            </a:lvl5pPr>
            <a:lvl6pPr marL="919162" indent="0">
              <a:buNone/>
              <a:defRPr/>
            </a:lvl6pPr>
          </a:lstStyle>
          <a:p>
            <a:pPr lvl="0"/>
            <a:r>
              <a:rPr lang="en-US" smtClean="0"/>
              <a:t>Edit Master text styles</a:t>
            </a:r>
          </a:p>
          <a:p>
            <a:pPr lvl="1"/>
            <a:r>
              <a:rPr lang="en-US" smtClean="0"/>
              <a:t>Second level</a:t>
            </a:r>
          </a:p>
        </p:txBody>
      </p:sp>
      <p:sp>
        <p:nvSpPr>
          <p:cNvPr id="36" name="Text Placeholder 3">
            <a:extLst>
              <a:ext uri="{FF2B5EF4-FFF2-40B4-BE49-F238E27FC236}">
                <a16:creationId xmlns:a16="http://schemas.microsoft.com/office/drawing/2014/main" id="{92D024BC-BC46-BB43-97CB-B9F7AB6B5787}"/>
              </a:ext>
            </a:extLst>
          </p:cNvPr>
          <p:cNvSpPr>
            <a:spLocks noGrp="1"/>
          </p:cNvSpPr>
          <p:nvPr>
            <p:ph type="body" sz="half" idx="12" hasCustomPrompt="1"/>
          </p:nvPr>
        </p:nvSpPr>
        <p:spPr>
          <a:xfrm>
            <a:off x="4305301" y="3866329"/>
            <a:ext cx="3581400" cy="318476"/>
          </a:xfrm>
        </p:spPr>
        <p:txBody>
          <a:bodyPr/>
          <a:lstStyle>
            <a:lvl1pPr marL="0" indent="0">
              <a:spcBef>
                <a:spcPts val="0"/>
              </a:spcBef>
              <a:spcAft>
                <a:spcPts val="0"/>
              </a:spcAft>
              <a:buNone/>
              <a:defRPr sz="20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37" name="Text Placeholder 13">
            <a:extLst>
              <a:ext uri="{FF2B5EF4-FFF2-40B4-BE49-F238E27FC236}">
                <a16:creationId xmlns:a16="http://schemas.microsoft.com/office/drawing/2014/main" id="{FA11E823-0F61-B144-9A65-89A2F749C474}"/>
              </a:ext>
            </a:extLst>
          </p:cNvPr>
          <p:cNvSpPr>
            <a:spLocks noGrp="1"/>
          </p:cNvSpPr>
          <p:nvPr>
            <p:ph type="body" sz="quarter" idx="14"/>
          </p:nvPr>
        </p:nvSpPr>
        <p:spPr>
          <a:xfrm>
            <a:off x="485779" y="4319152"/>
            <a:ext cx="3578222" cy="1802248"/>
          </a:xfrm>
        </p:spPr>
        <p:txBody>
          <a:bodyPr/>
          <a:lstStyle>
            <a:lvl1pPr>
              <a:defRPr sz="1500"/>
            </a:lvl1pPr>
            <a:lvl2pPr>
              <a:spcBef>
                <a:spcPts val="600"/>
              </a:spcBef>
              <a:defRPr sz="1500"/>
            </a:lvl2pPr>
            <a:lvl3pPr>
              <a:defRPr sz="1500"/>
            </a:lvl3pPr>
            <a:lvl4pPr>
              <a:defRPr sz="1500"/>
            </a:lvl4pPr>
            <a:lvl5pPr>
              <a:defRPr sz="1500"/>
            </a:lvl5pPr>
            <a:lvl6pPr>
              <a:defRPr/>
            </a:lvl6pPr>
          </a:lstStyle>
          <a:p>
            <a:pPr lvl="0"/>
            <a:r>
              <a:rPr lang="en-US" smtClean="0"/>
              <a:t>Edit Master text styles</a:t>
            </a:r>
          </a:p>
          <a:p>
            <a:pPr lvl="1"/>
            <a:r>
              <a:rPr lang="en-US" smtClean="0"/>
              <a:t>Second level</a:t>
            </a:r>
          </a:p>
        </p:txBody>
      </p:sp>
      <p:sp>
        <p:nvSpPr>
          <p:cNvPr id="38" name="Text Placeholder 3">
            <a:extLst>
              <a:ext uri="{FF2B5EF4-FFF2-40B4-BE49-F238E27FC236}">
                <a16:creationId xmlns:a16="http://schemas.microsoft.com/office/drawing/2014/main" id="{0FB319D6-4FDF-8B4F-9021-D082FAC7B9B2}"/>
              </a:ext>
            </a:extLst>
          </p:cNvPr>
          <p:cNvSpPr>
            <a:spLocks noGrp="1"/>
          </p:cNvSpPr>
          <p:nvPr>
            <p:ph type="body" sz="half" idx="15" hasCustomPrompt="1"/>
          </p:nvPr>
        </p:nvSpPr>
        <p:spPr>
          <a:xfrm>
            <a:off x="485777" y="3866329"/>
            <a:ext cx="3578223" cy="318476"/>
          </a:xfrm>
        </p:spPr>
        <p:txBody>
          <a:bodyPr/>
          <a:lstStyle>
            <a:lvl1pPr marL="0" indent="0">
              <a:spcBef>
                <a:spcPts val="0"/>
              </a:spcBef>
              <a:spcAft>
                <a:spcPts val="0"/>
              </a:spcAft>
              <a:buNone/>
              <a:defRPr sz="18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39" name="Text Placeholder 3">
            <a:extLst>
              <a:ext uri="{FF2B5EF4-FFF2-40B4-BE49-F238E27FC236}">
                <a16:creationId xmlns:a16="http://schemas.microsoft.com/office/drawing/2014/main" id="{AC0CDF27-1ADD-8342-879D-707AFEFCFEF8}"/>
              </a:ext>
            </a:extLst>
          </p:cNvPr>
          <p:cNvSpPr>
            <a:spLocks noGrp="1"/>
          </p:cNvSpPr>
          <p:nvPr>
            <p:ph type="body" sz="half" idx="18" hasCustomPrompt="1"/>
          </p:nvPr>
        </p:nvSpPr>
        <p:spPr>
          <a:xfrm>
            <a:off x="8130667" y="3548674"/>
            <a:ext cx="3578733" cy="318476"/>
          </a:xfrm>
        </p:spPr>
        <p:txBody>
          <a:bodyPr/>
          <a:lstStyle>
            <a:lvl1pPr marL="0" indent="0">
              <a:spcBef>
                <a:spcPts val="0"/>
              </a:spcBef>
              <a:spcAft>
                <a:spcPts val="0"/>
              </a:spcAft>
              <a:buNone/>
              <a:defRPr sz="18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40" name="Text Placeholder 13">
            <a:extLst>
              <a:ext uri="{FF2B5EF4-FFF2-40B4-BE49-F238E27FC236}">
                <a16:creationId xmlns:a16="http://schemas.microsoft.com/office/drawing/2014/main" id="{E53B07F7-1C0A-6047-A541-C601FCBCE8EF}"/>
              </a:ext>
            </a:extLst>
          </p:cNvPr>
          <p:cNvSpPr>
            <a:spLocks noGrp="1"/>
          </p:cNvSpPr>
          <p:nvPr>
            <p:ph type="body" sz="quarter" idx="19"/>
          </p:nvPr>
        </p:nvSpPr>
        <p:spPr>
          <a:xfrm>
            <a:off x="8130670" y="4319152"/>
            <a:ext cx="3578732" cy="1802248"/>
          </a:xfrm>
        </p:spPr>
        <p:txBody>
          <a:bodyPr/>
          <a:lstStyle>
            <a:lvl1pPr>
              <a:defRPr sz="1500"/>
            </a:lvl1pPr>
            <a:lvl2pPr>
              <a:spcBef>
                <a:spcPts val="600"/>
              </a:spcBef>
              <a:defRPr sz="1500"/>
            </a:lvl2pPr>
            <a:lvl3pPr>
              <a:defRPr sz="1500"/>
            </a:lvl3pPr>
            <a:lvl4pPr>
              <a:defRPr sz="1500"/>
            </a:lvl4pPr>
            <a:lvl5pPr>
              <a:defRPr sz="1500"/>
            </a:lvl5pPr>
            <a:lvl6pPr marL="919162" indent="0">
              <a:buNone/>
              <a:defRPr/>
            </a:lvl6pPr>
          </a:lstStyle>
          <a:p>
            <a:pPr lvl="0"/>
            <a:r>
              <a:rPr lang="en-US" smtClean="0"/>
              <a:t>Edit Master text styles</a:t>
            </a:r>
          </a:p>
          <a:p>
            <a:pPr lvl="1"/>
            <a:r>
              <a:rPr lang="en-US" smtClean="0"/>
              <a:t>Second level</a:t>
            </a:r>
          </a:p>
        </p:txBody>
      </p:sp>
      <p:sp>
        <p:nvSpPr>
          <p:cNvPr id="41" name="Text Placeholder 3">
            <a:extLst>
              <a:ext uri="{FF2B5EF4-FFF2-40B4-BE49-F238E27FC236}">
                <a16:creationId xmlns:a16="http://schemas.microsoft.com/office/drawing/2014/main" id="{94746E12-3EC2-5141-8C5F-4B4265F409C4}"/>
              </a:ext>
            </a:extLst>
          </p:cNvPr>
          <p:cNvSpPr>
            <a:spLocks noGrp="1"/>
          </p:cNvSpPr>
          <p:nvPr>
            <p:ph type="body" sz="half" idx="20" hasCustomPrompt="1"/>
          </p:nvPr>
        </p:nvSpPr>
        <p:spPr>
          <a:xfrm>
            <a:off x="8130667" y="3866329"/>
            <a:ext cx="3578733" cy="318476"/>
          </a:xfrm>
        </p:spPr>
        <p:txBody>
          <a:bodyPr/>
          <a:lstStyle>
            <a:lvl1pPr marL="0" indent="0">
              <a:spcBef>
                <a:spcPts val="0"/>
              </a:spcBef>
              <a:spcAft>
                <a:spcPts val="0"/>
              </a:spcAft>
              <a:buNone/>
              <a:defRPr sz="18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42" name="Picture Placeholder 9">
            <a:extLst>
              <a:ext uri="{FF2B5EF4-FFF2-40B4-BE49-F238E27FC236}">
                <a16:creationId xmlns:a16="http://schemas.microsoft.com/office/drawing/2014/main" id="{FF57ADCE-A8E0-014E-9057-FA914AC44AB6}"/>
              </a:ext>
            </a:extLst>
          </p:cNvPr>
          <p:cNvSpPr>
            <a:spLocks noGrp="1" noChangeAspect="1"/>
          </p:cNvSpPr>
          <p:nvPr>
            <p:ph type="pic" sz="quarter" idx="21" hasCustomPrompt="1"/>
          </p:nvPr>
        </p:nvSpPr>
        <p:spPr>
          <a:xfrm>
            <a:off x="8128001" y="1620838"/>
            <a:ext cx="1673352" cy="1673352"/>
          </a:xfrm>
          <a:prstGeom prst="rect">
            <a:avLst/>
          </a:prstGeom>
          <a:solidFill>
            <a:srgbClr val="F0F0F0"/>
          </a:solidFill>
        </p:spPr>
        <p:txBody>
          <a:bodyPr/>
          <a:lstStyle>
            <a:lvl1pPr algn="l">
              <a:defRPr sz="1200">
                <a:solidFill>
                  <a:srgbClr val="FF0000"/>
                </a:solidFill>
              </a:defRPr>
            </a:lvl1pPr>
          </a:lstStyle>
          <a:p>
            <a:r>
              <a:rPr lang="en-US" dirty="0" smtClean="0"/>
              <a:t>Click icon to add picture. Use “Crop” feature on “Format” tab to resize or reposition picture once added. Reset slide layout if needed.</a:t>
            </a:r>
            <a:endParaRPr lang="en-US" dirty="0"/>
          </a:p>
        </p:txBody>
      </p:sp>
    </p:spTree>
    <p:extLst>
      <p:ext uri="{BB962C8B-B14F-4D97-AF65-F5344CB8AC3E}">
        <p14:creationId xmlns:p14="http://schemas.microsoft.com/office/powerpoint/2010/main" val="218530258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4 Squar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28F8080-2DDB-8047-949E-EA88B51BED9A}"/>
              </a:ext>
            </a:extLst>
          </p:cNvPr>
          <p:cNvGraphicFramePr>
            <a:graphicFrameLocks noChangeAspect="1"/>
          </p:cNvGraphicFramePr>
          <p:nvPr>
            <p:custDataLst>
              <p:tags r:id="rId2"/>
            </p:custDataLst>
            <p:extLst>
              <p:ext uri="{D42A27DB-BD31-4B8C-83A1-F6EECF244321}">
                <p14:modId xmlns:p14="http://schemas.microsoft.com/office/powerpoint/2010/main" val="299728704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69880"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428F8080-2DDB-8047-949E-EA88B51BED9A}"/>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9" name="Title 1">
            <a:extLst>
              <a:ext uri="{FF2B5EF4-FFF2-40B4-BE49-F238E27FC236}">
                <a16:creationId xmlns:a16="http://schemas.microsoft.com/office/drawing/2014/main" id="{7AA2A475-59E8-7C47-A042-7D18D3F485F0}"/>
              </a:ext>
            </a:extLst>
          </p:cNvPr>
          <p:cNvSpPr>
            <a:spLocks noGrp="1"/>
          </p:cNvSpPr>
          <p:nvPr>
            <p:ph type="title" hasCustomPrompt="1"/>
          </p:nvPr>
        </p:nvSpPr>
        <p:spPr>
          <a:xfrm>
            <a:off x="457200" y="355601"/>
            <a:ext cx="11252199" cy="495299"/>
          </a:xfrm>
        </p:spPr>
        <p:txBody>
          <a:bodyPr vert="horz"/>
          <a:lstStyle/>
          <a:p>
            <a:r>
              <a:rPr lang="en-US" dirty="0"/>
              <a:t>Click to add title</a:t>
            </a:r>
          </a:p>
        </p:txBody>
      </p:sp>
      <p:sp>
        <p:nvSpPr>
          <p:cNvPr id="30" name="Text Placeholder 3">
            <a:extLst>
              <a:ext uri="{FF2B5EF4-FFF2-40B4-BE49-F238E27FC236}">
                <a16:creationId xmlns:a16="http://schemas.microsoft.com/office/drawing/2014/main" id="{89251D6D-CA0A-B446-980B-987AD0954011}"/>
              </a:ext>
            </a:extLst>
          </p:cNvPr>
          <p:cNvSpPr>
            <a:spLocks noGrp="1"/>
          </p:cNvSpPr>
          <p:nvPr>
            <p:ph type="body" sz="half" idx="2"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
        <p:nvSpPr>
          <p:cNvPr id="17" name="Picture Placeholder 9">
            <a:extLst>
              <a:ext uri="{FF2B5EF4-FFF2-40B4-BE49-F238E27FC236}">
                <a16:creationId xmlns:a16="http://schemas.microsoft.com/office/drawing/2014/main" id="{B11D6A3E-C162-8842-B775-7875BEB0A85B}"/>
              </a:ext>
            </a:extLst>
          </p:cNvPr>
          <p:cNvSpPr>
            <a:spLocks noGrp="1" noChangeAspect="1"/>
          </p:cNvSpPr>
          <p:nvPr>
            <p:ph type="pic" sz="quarter" idx="10" hasCustomPrompt="1"/>
          </p:nvPr>
        </p:nvSpPr>
        <p:spPr>
          <a:xfrm>
            <a:off x="485776" y="1620838"/>
            <a:ext cx="1673352" cy="1673352"/>
          </a:xfrm>
          <a:prstGeom prst="rect">
            <a:avLst/>
          </a:prstGeom>
          <a:solidFill>
            <a:srgbClr val="F0F0F0"/>
          </a:solidFill>
        </p:spPr>
        <p:txBody>
          <a:bodyPr/>
          <a:lstStyle>
            <a:lvl1pPr algn="l">
              <a:defRPr sz="1200">
                <a:solidFill>
                  <a:srgbClr val="FF0000"/>
                </a:solidFill>
              </a:defRPr>
            </a:lvl1pPr>
          </a:lstStyle>
          <a:p>
            <a:r>
              <a:rPr lang="en-US" dirty="0" smtClean="0"/>
              <a:t>Click icon to add picture. Use “Crop” feature on “Format” tab to resize or reposition picture once added. Reset slide layout if needed.</a:t>
            </a:r>
            <a:endParaRPr lang="en-US" dirty="0"/>
          </a:p>
        </p:txBody>
      </p:sp>
      <p:sp>
        <p:nvSpPr>
          <p:cNvPr id="18" name="Picture Placeholder 9">
            <a:extLst>
              <a:ext uri="{FF2B5EF4-FFF2-40B4-BE49-F238E27FC236}">
                <a16:creationId xmlns:a16="http://schemas.microsoft.com/office/drawing/2014/main" id="{81BCBFF4-D53A-EE49-B80C-42E4092B9A5D}"/>
              </a:ext>
            </a:extLst>
          </p:cNvPr>
          <p:cNvSpPr>
            <a:spLocks noGrp="1" noChangeAspect="1"/>
          </p:cNvSpPr>
          <p:nvPr>
            <p:ph type="pic" sz="quarter" idx="13" hasCustomPrompt="1"/>
          </p:nvPr>
        </p:nvSpPr>
        <p:spPr>
          <a:xfrm>
            <a:off x="6226172" y="1620838"/>
            <a:ext cx="1673352" cy="1673352"/>
          </a:xfrm>
          <a:prstGeom prst="rect">
            <a:avLst/>
          </a:prstGeom>
          <a:solidFill>
            <a:srgbClr val="F0F0F0"/>
          </a:solidFill>
        </p:spPr>
        <p:txBody>
          <a:bodyPr/>
          <a:lstStyle>
            <a:lvl1pPr algn="l">
              <a:defRPr sz="1200">
                <a:solidFill>
                  <a:srgbClr val="FF0000"/>
                </a:solidFill>
              </a:defRPr>
            </a:lvl1pPr>
          </a:lstStyle>
          <a:p>
            <a:r>
              <a:rPr lang="en-US" dirty="0" smtClean="0"/>
              <a:t>Click icon to add picture. Use “Crop” feature on “Format” tab to resize or reposition picture once added. Reset slide layout if needed.</a:t>
            </a:r>
            <a:endParaRPr lang="en-US" dirty="0"/>
          </a:p>
        </p:txBody>
      </p:sp>
      <p:sp>
        <p:nvSpPr>
          <p:cNvPr id="19" name="Text Placeholder 3">
            <a:extLst>
              <a:ext uri="{FF2B5EF4-FFF2-40B4-BE49-F238E27FC236}">
                <a16:creationId xmlns:a16="http://schemas.microsoft.com/office/drawing/2014/main" id="{C6C837E2-475A-A145-AA15-49D3FF505DE4}"/>
              </a:ext>
            </a:extLst>
          </p:cNvPr>
          <p:cNvSpPr>
            <a:spLocks noGrp="1"/>
          </p:cNvSpPr>
          <p:nvPr>
            <p:ph type="body" sz="half" idx="16" hasCustomPrompt="1"/>
          </p:nvPr>
        </p:nvSpPr>
        <p:spPr>
          <a:xfrm>
            <a:off x="8127999" y="3800320"/>
            <a:ext cx="3581401" cy="318476"/>
          </a:xfrm>
        </p:spPr>
        <p:txBody>
          <a:bodyPr/>
          <a:lstStyle>
            <a:lvl1pPr marL="0" indent="0">
              <a:spcBef>
                <a:spcPts val="0"/>
              </a:spcBef>
              <a:spcAft>
                <a:spcPts val="0"/>
              </a:spcAft>
              <a:buNone/>
              <a:defRPr sz="18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20" name="Text Placeholder 3">
            <a:extLst>
              <a:ext uri="{FF2B5EF4-FFF2-40B4-BE49-F238E27FC236}">
                <a16:creationId xmlns:a16="http://schemas.microsoft.com/office/drawing/2014/main" id="{0FBA2C31-7999-0247-BDEF-C988E29E50AE}"/>
              </a:ext>
            </a:extLst>
          </p:cNvPr>
          <p:cNvSpPr>
            <a:spLocks noGrp="1"/>
          </p:cNvSpPr>
          <p:nvPr>
            <p:ph type="body" sz="half" idx="17" hasCustomPrompt="1"/>
          </p:nvPr>
        </p:nvSpPr>
        <p:spPr>
          <a:xfrm>
            <a:off x="2387599" y="3800320"/>
            <a:ext cx="3594101" cy="318476"/>
          </a:xfrm>
        </p:spPr>
        <p:txBody>
          <a:bodyPr/>
          <a:lstStyle>
            <a:lvl1pPr marL="0" indent="0">
              <a:spcBef>
                <a:spcPts val="0"/>
              </a:spcBef>
              <a:spcAft>
                <a:spcPts val="0"/>
              </a:spcAft>
              <a:buNone/>
              <a:defRPr sz="18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21" name="Text Placeholder 13">
            <a:extLst>
              <a:ext uri="{FF2B5EF4-FFF2-40B4-BE49-F238E27FC236}">
                <a16:creationId xmlns:a16="http://schemas.microsoft.com/office/drawing/2014/main" id="{3BB99F62-7394-5640-BBA6-EEFDE0FDFFB8}"/>
              </a:ext>
            </a:extLst>
          </p:cNvPr>
          <p:cNvSpPr>
            <a:spLocks noGrp="1"/>
          </p:cNvSpPr>
          <p:nvPr>
            <p:ph type="body" sz="quarter" idx="11" hasCustomPrompt="1"/>
          </p:nvPr>
        </p:nvSpPr>
        <p:spPr>
          <a:xfrm>
            <a:off x="8128001" y="4502460"/>
            <a:ext cx="3581400" cy="1114115"/>
          </a:xfrm>
        </p:spPr>
        <p:txBody>
          <a:bodyPr/>
          <a:lstStyle>
            <a:lvl1pPr>
              <a:defRPr sz="1500"/>
            </a:lvl1pPr>
            <a:lvl2pPr>
              <a:spcBef>
                <a:spcPts val="600"/>
              </a:spcBef>
              <a:defRPr sz="1600"/>
            </a:lvl2pPr>
            <a:lvl3pPr>
              <a:defRPr sz="1600"/>
            </a:lvl3pPr>
            <a:lvl4pPr>
              <a:defRPr sz="1600"/>
            </a:lvl4pPr>
            <a:lvl5pPr>
              <a:defRPr sz="1600"/>
            </a:lvl5pPr>
          </a:lstStyle>
          <a:p>
            <a:pPr lvl="0"/>
            <a:r>
              <a:rPr lang="en-US" dirty="0"/>
              <a:t>Click to short biography</a:t>
            </a:r>
          </a:p>
        </p:txBody>
      </p:sp>
      <p:sp>
        <p:nvSpPr>
          <p:cNvPr id="22" name="Text Placeholder 3">
            <a:extLst>
              <a:ext uri="{FF2B5EF4-FFF2-40B4-BE49-F238E27FC236}">
                <a16:creationId xmlns:a16="http://schemas.microsoft.com/office/drawing/2014/main" id="{92D024BC-BC46-BB43-97CB-B9F7AB6B5787}"/>
              </a:ext>
            </a:extLst>
          </p:cNvPr>
          <p:cNvSpPr>
            <a:spLocks noGrp="1"/>
          </p:cNvSpPr>
          <p:nvPr>
            <p:ph type="body" sz="half" idx="12" hasCustomPrompt="1"/>
          </p:nvPr>
        </p:nvSpPr>
        <p:spPr>
          <a:xfrm>
            <a:off x="8127999" y="4117975"/>
            <a:ext cx="3581401" cy="318476"/>
          </a:xfrm>
        </p:spPr>
        <p:txBody>
          <a:bodyPr/>
          <a:lstStyle>
            <a:lvl1pPr marL="0" indent="0">
              <a:spcBef>
                <a:spcPts val="0"/>
              </a:spcBef>
              <a:spcAft>
                <a:spcPts val="0"/>
              </a:spcAft>
              <a:buNone/>
              <a:defRPr sz="18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23" name="Text Placeholder 13">
            <a:extLst>
              <a:ext uri="{FF2B5EF4-FFF2-40B4-BE49-F238E27FC236}">
                <a16:creationId xmlns:a16="http://schemas.microsoft.com/office/drawing/2014/main" id="{FA11E823-0F61-B144-9A65-89A2F749C474}"/>
              </a:ext>
            </a:extLst>
          </p:cNvPr>
          <p:cNvSpPr>
            <a:spLocks noGrp="1"/>
          </p:cNvSpPr>
          <p:nvPr>
            <p:ph type="body" sz="quarter" idx="14" hasCustomPrompt="1"/>
          </p:nvPr>
        </p:nvSpPr>
        <p:spPr>
          <a:xfrm>
            <a:off x="2387601" y="4502460"/>
            <a:ext cx="3594100" cy="1114115"/>
          </a:xfrm>
        </p:spPr>
        <p:txBody>
          <a:bodyPr/>
          <a:lstStyle>
            <a:lvl1pPr>
              <a:defRPr sz="1500"/>
            </a:lvl1pPr>
            <a:lvl2pPr>
              <a:spcBef>
                <a:spcPts val="600"/>
              </a:spcBef>
              <a:defRPr sz="1600"/>
            </a:lvl2pPr>
            <a:lvl3pPr>
              <a:defRPr sz="1600"/>
            </a:lvl3pPr>
            <a:lvl4pPr>
              <a:defRPr sz="1600"/>
            </a:lvl4pPr>
            <a:lvl5pPr>
              <a:defRPr sz="1600"/>
            </a:lvl5pPr>
          </a:lstStyle>
          <a:p>
            <a:pPr lvl="0"/>
            <a:r>
              <a:rPr lang="en-US" dirty="0"/>
              <a:t>Click to short biography</a:t>
            </a:r>
          </a:p>
        </p:txBody>
      </p:sp>
      <p:sp>
        <p:nvSpPr>
          <p:cNvPr id="24" name="Text Placeholder 3">
            <a:extLst>
              <a:ext uri="{FF2B5EF4-FFF2-40B4-BE49-F238E27FC236}">
                <a16:creationId xmlns:a16="http://schemas.microsoft.com/office/drawing/2014/main" id="{0FB319D6-4FDF-8B4F-9021-D082FAC7B9B2}"/>
              </a:ext>
            </a:extLst>
          </p:cNvPr>
          <p:cNvSpPr>
            <a:spLocks noGrp="1"/>
          </p:cNvSpPr>
          <p:nvPr>
            <p:ph type="body" sz="half" idx="15" hasCustomPrompt="1"/>
          </p:nvPr>
        </p:nvSpPr>
        <p:spPr>
          <a:xfrm>
            <a:off x="2387599" y="4117975"/>
            <a:ext cx="3594101" cy="318476"/>
          </a:xfrm>
        </p:spPr>
        <p:txBody>
          <a:bodyPr/>
          <a:lstStyle>
            <a:lvl1pPr marL="0" indent="0">
              <a:spcBef>
                <a:spcPts val="0"/>
              </a:spcBef>
              <a:spcAft>
                <a:spcPts val="0"/>
              </a:spcAft>
              <a:buNone/>
              <a:defRPr sz="18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25" name="Text Placeholder 3">
            <a:extLst>
              <a:ext uri="{FF2B5EF4-FFF2-40B4-BE49-F238E27FC236}">
                <a16:creationId xmlns:a16="http://schemas.microsoft.com/office/drawing/2014/main" id="{5F7713A0-A151-AC43-ADBC-57561531851D}"/>
              </a:ext>
            </a:extLst>
          </p:cNvPr>
          <p:cNvSpPr>
            <a:spLocks noGrp="1"/>
          </p:cNvSpPr>
          <p:nvPr>
            <p:ph type="body" sz="half" idx="18" hasCustomPrompt="1"/>
          </p:nvPr>
        </p:nvSpPr>
        <p:spPr>
          <a:xfrm>
            <a:off x="8127999" y="1564115"/>
            <a:ext cx="3581401" cy="318476"/>
          </a:xfrm>
        </p:spPr>
        <p:txBody>
          <a:bodyPr/>
          <a:lstStyle>
            <a:lvl1pPr marL="0" indent="0">
              <a:spcBef>
                <a:spcPts val="0"/>
              </a:spcBef>
              <a:spcAft>
                <a:spcPts val="0"/>
              </a:spcAft>
              <a:buNone/>
              <a:defRPr sz="18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26" name="Text Placeholder 3">
            <a:extLst>
              <a:ext uri="{FF2B5EF4-FFF2-40B4-BE49-F238E27FC236}">
                <a16:creationId xmlns:a16="http://schemas.microsoft.com/office/drawing/2014/main" id="{36990999-1C86-3C4A-9E86-512FFE509F06}"/>
              </a:ext>
            </a:extLst>
          </p:cNvPr>
          <p:cNvSpPr>
            <a:spLocks noGrp="1"/>
          </p:cNvSpPr>
          <p:nvPr>
            <p:ph type="body" sz="half" idx="19" hasCustomPrompt="1"/>
          </p:nvPr>
        </p:nvSpPr>
        <p:spPr>
          <a:xfrm>
            <a:off x="2387599" y="1564115"/>
            <a:ext cx="3594101" cy="318476"/>
          </a:xfrm>
        </p:spPr>
        <p:txBody>
          <a:bodyPr/>
          <a:lstStyle>
            <a:lvl1pPr marL="0" indent="0">
              <a:spcBef>
                <a:spcPts val="0"/>
              </a:spcBef>
              <a:spcAft>
                <a:spcPts val="0"/>
              </a:spcAft>
              <a:buNone/>
              <a:defRPr sz="18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27" name="Text Placeholder 13">
            <a:extLst>
              <a:ext uri="{FF2B5EF4-FFF2-40B4-BE49-F238E27FC236}">
                <a16:creationId xmlns:a16="http://schemas.microsoft.com/office/drawing/2014/main" id="{A71029AB-D37D-2644-A741-0C081A0EFD23}"/>
              </a:ext>
            </a:extLst>
          </p:cNvPr>
          <p:cNvSpPr>
            <a:spLocks noGrp="1"/>
          </p:cNvSpPr>
          <p:nvPr>
            <p:ph type="body" sz="quarter" idx="20" hasCustomPrompt="1"/>
          </p:nvPr>
        </p:nvSpPr>
        <p:spPr>
          <a:xfrm>
            <a:off x="8128001" y="2266255"/>
            <a:ext cx="3581400" cy="1114115"/>
          </a:xfrm>
        </p:spPr>
        <p:txBody>
          <a:bodyPr/>
          <a:lstStyle>
            <a:lvl1pPr>
              <a:defRPr sz="1500"/>
            </a:lvl1pPr>
            <a:lvl2pPr>
              <a:spcBef>
                <a:spcPts val="600"/>
              </a:spcBef>
              <a:defRPr sz="1600"/>
            </a:lvl2pPr>
            <a:lvl3pPr>
              <a:defRPr sz="1600"/>
            </a:lvl3pPr>
            <a:lvl4pPr>
              <a:defRPr sz="1600"/>
            </a:lvl4pPr>
            <a:lvl5pPr>
              <a:defRPr sz="1600"/>
            </a:lvl5pPr>
          </a:lstStyle>
          <a:p>
            <a:pPr lvl="0"/>
            <a:r>
              <a:rPr lang="en-US" dirty="0"/>
              <a:t>Click to short biography</a:t>
            </a:r>
          </a:p>
        </p:txBody>
      </p:sp>
      <p:sp>
        <p:nvSpPr>
          <p:cNvPr id="28" name="Text Placeholder 3">
            <a:extLst>
              <a:ext uri="{FF2B5EF4-FFF2-40B4-BE49-F238E27FC236}">
                <a16:creationId xmlns:a16="http://schemas.microsoft.com/office/drawing/2014/main" id="{C8BA4402-6CAF-594E-89D2-451CACAEAF49}"/>
              </a:ext>
            </a:extLst>
          </p:cNvPr>
          <p:cNvSpPr>
            <a:spLocks noGrp="1"/>
          </p:cNvSpPr>
          <p:nvPr>
            <p:ph type="body" sz="half" idx="21" hasCustomPrompt="1"/>
          </p:nvPr>
        </p:nvSpPr>
        <p:spPr>
          <a:xfrm>
            <a:off x="8127999" y="1881770"/>
            <a:ext cx="3581401" cy="318476"/>
          </a:xfrm>
        </p:spPr>
        <p:txBody>
          <a:bodyPr/>
          <a:lstStyle>
            <a:lvl1pPr marL="0" indent="0">
              <a:spcBef>
                <a:spcPts val="0"/>
              </a:spcBef>
              <a:spcAft>
                <a:spcPts val="0"/>
              </a:spcAft>
              <a:buNone/>
              <a:defRPr sz="18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43" name="Text Placeholder 13">
            <a:extLst>
              <a:ext uri="{FF2B5EF4-FFF2-40B4-BE49-F238E27FC236}">
                <a16:creationId xmlns:a16="http://schemas.microsoft.com/office/drawing/2014/main" id="{265C0D49-3234-5E4D-894F-6B46C7FB1261}"/>
              </a:ext>
            </a:extLst>
          </p:cNvPr>
          <p:cNvSpPr>
            <a:spLocks noGrp="1"/>
          </p:cNvSpPr>
          <p:nvPr>
            <p:ph type="body" sz="quarter" idx="22" hasCustomPrompt="1"/>
          </p:nvPr>
        </p:nvSpPr>
        <p:spPr>
          <a:xfrm>
            <a:off x="2387601" y="2266255"/>
            <a:ext cx="3594100" cy="1114115"/>
          </a:xfrm>
        </p:spPr>
        <p:txBody>
          <a:bodyPr/>
          <a:lstStyle>
            <a:lvl1pPr>
              <a:defRPr sz="1500"/>
            </a:lvl1pPr>
            <a:lvl2pPr>
              <a:spcBef>
                <a:spcPts val="600"/>
              </a:spcBef>
              <a:defRPr sz="1600"/>
            </a:lvl2pPr>
            <a:lvl3pPr>
              <a:defRPr sz="1600"/>
            </a:lvl3pPr>
            <a:lvl4pPr>
              <a:defRPr sz="1600"/>
            </a:lvl4pPr>
            <a:lvl5pPr>
              <a:defRPr sz="1600"/>
            </a:lvl5pPr>
          </a:lstStyle>
          <a:p>
            <a:pPr lvl="0"/>
            <a:r>
              <a:rPr lang="en-US" dirty="0"/>
              <a:t>Click to short biography</a:t>
            </a:r>
          </a:p>
        </p:txBody>
      </p:sp>
      <p:sp>
        <p:nvSpPr>
          <p:cNvPr id="44" name="Text Placeholder 3">
            <a:extLst>
              <a:ext uri="{FF2B5EF4-FFF2-40B4-BE49-F238E27FC236}">
                <a16:creationId xmlns:a16="http://schemas.microsoft.com/office/drawing/2014/main" id="{0257D817-539C-DD4E-AE71-8174AB5D41C0}"/>
              </a:ext>
            </a:extLst>
          </p:cNvPr>
          <p:cNvSpPr>
            <a:spLocks noGrp="1"/>
          </p:cNvSpPr>
          <p:nvPr>
            <p:ph type="body" sz="half" idx="23" hasCustomPrompt="1"/>
          </p:nvPr>
        </p:nvSpPr>
        <p:spPr>
          <a:xfrm>
            <a:off x="2387599" y="1881770"/>
            <a:ext cx="3594101" cy="318476"/>
          </a:xfrm>
        </p:spPr>
        <p:txBody>
          <a:bodyPr/>
          <a:lstStyle>
            <a:lvl1pPr marL="0" indent="0">
              <a:spcBef>
                <a:spcPts val="0"/>
              </a:spcBef>
              <a:spcAft>
                <a:spcPts val="0"/>
              </a:spcAft>
              <a:buNone/>
              <a:defRPr sz="18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45" name="Picture Placeholder 9">
            <a:extLst>
              <a:ext uri="{FF2B5EF4-FFF2-40B4-BE49-F238E27FC236}">
                <a16:creationId xmlns:a16="http://schemas.microsoft.com/office/drawing/2014/main" id="{6BD28324-F3EB-BE41-9D0C-98C0D13B4016}"/>
              </a:ext>
            </a:extLst>
          </p:cNvPr>
          <p:cNvSpPr>
            <a:spLocks noGrp="1" noChangeAspect="1"/>
          </p:cNvSpPr>
          <p:nvPr>
            <p:ph type="pic" sz="quarter" idx="24" hasCustomPrompt="1"/>
          </p:nvPr>
        </p:nvSpPr>
        <p:spPr>
          <a:xfrm>
            <a:off x="485776" y="3879092"/>
            <a:ext cx="1673352" cy="1673352"/>
          </a:xfrm>
          <a:prstGeom prst="rect">
            <a:avLst/>
          </a:prstGeom>
          <a:solidFill>
            <a:srgbClr val="F0F0F0"/>
          </a:solidFill>
        </p:spPr>
        <p:txBody>
          <a:bodyPr/>
          <a:lstStyle>
            <a:lvl1pPr algn="l">
              <a:defRPr sz="1200">
                <a:solidFill>
                  <a:srgbClr val="FF0000"/>
                </a:solidFill>
              </a:defRPr>
            </a:lvl1pPr>
          </a:lstStyle>
          <a:p>
            <a:r>
              <a:rPr lang="en-US" dirty="0" smtClean="0"/>
              <a:t>Click icon to add picture. Use “Crop” feature on “Format” tab to resize or reposition picture once added. Reset slide layout if needed.</a:t>
            </a:r>
            <a:endParaRPr lang="en-US" dirty="0"/>
          </a:p>
        </p:txBody>
      </p:sp>
      <p:sp>
        <p:nvSpPr>
          <p:cNvPr id="46" name="Picture Placeholder 9">
            <a:extLst>
              <a:ext uri="{FF2B5EF4-FFF2-40B4-BE49-F238E27FC236}">
                <a16:creationId xmlns:a16="http://schemas.microsoft.com/office/drawing/2014/main" id="{F9D2F30B-E1C7-574E-BAC9-2FA330852737}"/>
              </a:ext>
            </a:extLst>
          </p:cNvPr>
          <p:cNvSpPr>
            <a:spLocks noGrp="1" noChangeAspect="1"/>
          </p:cNvSpPr>
          <p:nvPr>
            <p:ph type="pic" sz="quarter" idx="25" hasCustomPrompt="1"/>
          </p:nvPr>
        </p:nvSpPr>
        <p:spPr>
          <a:xfrm>
            <a:off x="6226172" y="3879092"/>
            <a:ext cx="1673352" cy="1673352"/>
          </a:xfrm>
          <a:prstGeom prst="rect">
            <a:avLst/>
          </a:prstGeom>
          <a:solidFill>
            <a:srgbClr val="F0F0F0"/>
          </a:solidFill>
        </p:spPr>
        <p:txBody>
          <a:bodyPr/>
          <a:lstStyle>
            <a:lvl1pPr algn="l">
              <a:defRPr sz="1200">
                <a:solidFill>
                  <a:srgbClr val="FF0000"/>
                </a:solidFill>
              </a:defRPr>
            </a:lvl1pPr>
          </a:lstStyle>
          <a:p>
            <a:r>
              <a:rPr lang="en-US" dirty="0" smtClean="0"/>
              <a:t>Click icon to add picture. Use “Crop” feature on “Format” tab to resize or reposition picture once added. Reset slide layout if needed.</a:t>
            </a:r>
            <a:endParaRPr lang="en-US" dirty="0"/>
          </a:p>
        </p:txBody>
      </p:sp>
    </p:spTree>
    <p:extLst>
      <p:ext uri="{BB962C8B-B14F-4D97-AF65-F5344CB8AC3E}">
        <p14:creationId xmlns:p14="http://schemas.microsoft.com/office/powerpoint/2010/main" val="188623463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8 Squar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28F8080-2DDB-8047-949E-EA88B51BED9A}"/>
              </a:ext>
            </a:extLst>
          </p:cNvPr>
          <p:cNvGraphicFramePr>
            <a:graphicFrameLocks noChangeAspect="1"/>
          </p:cNvGraphicFramePr>
          <p:nvPr>
            <p:custDataLst>
              <p:tags r:id="rId2"/>
            </p:custDataLst>
            <p:extLst>
              <p:ext uri="{D42A27DB-BD31-4B8C-83A1-F6EECF244321}">
                <p14:modId xmlns:p14="http://schemas.microsoft.com/office/powerpoint/2010/main" val="379466220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70904"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428F8080-2DDB-8047-949E-EA88B51BED9A}"/>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9" name="Title 1">
            <a:extLst>
              <a:ext uri="{FF2B5EF4-FFF2-40B4-BE49-F238E27FC236}">
                <a16:creationId xmlns:a16="http://schemas.microsoft.com/office/drawing/2014/main" id="{7AA2A475-59E8-7C47-A042-7D18D3F485F0}"/>
              </a:ext>
            </a:extLst>
          </p:cNvPr>
          <p:cNvSpPr>
            <a:spLocks noGrp="1"/>
          </p:cNvSpPr>
          <p:nvPr>
            <p:ph type="title" hasCustomPrompt="1"/>
          </p:nvPr>
        </p:nvSpPr>
        <p:spPr>
          <a:xfrm>
            <a:off x="457200" y="355601"/>
            <a:ext cx="11252199" cy="495299"/>
          </a:xfrm>
        </p:spPr>
        <p:txBody>
          <a:bodyPr vert="horz"/>
          <a:lstStyle/>
          <a:p>
            <a:r>
              <a:rPr lang="en-US" dirty="0"/>
              <a:t>Click to add title</a:t>
            </a:r>
          </a:p>
        </p:txBody>
      </p:sp>
      <p:sp>
        <p:nvSpPr>
          <p:cNvPr id="30" name="Text Placeholder 3">
            <a:extLst>
              <a:ext uri="{FF2B5EF4-FFF2-40B4-BE49-F238E27FC236}">
                <a16:creationId xmlns:a16="http://schemas.microsoft.com/office/drawing/2014/main" id="{89251D6D-CA0A-B446-980B-987AD0954011}"/>
              </a:ext>
            </a:extLst>
          </p:cNvPr>
          <p:cNvSpPr>
            <a:spLocks noGrp="1"/>
          </p:cNvSpPr>
          <p:nvPr>
            <p:ph type="body" sz="half" idx="2"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
        <p:nvSpPr>
          <p:cNvPr id="31" name="Picture Placeholder 9">
            <a:extLst>
              <a:ext uri="{FF2B5EF4-FFF2-40B4-BE49-F238E27FC236}">
                <a16:creationId xmlns:a16="http://schemas.microsoft.com/office/drawing/2014/main" id="{B11D6A3E-C162-8842-B775-7875BEB0A85B}"/>
              </a:ext>
            </a:extLst>
          </p:cNvPr>
          <p:cNvSpPr>
            <a:spLocks noGrp="1" noChangeAspect="1"/>
          </p:cNvSpPr>
          <p:nvPr>
            <p:ph type="pic" sz="quarter" idx="10" hasCustomPrompt="1"/>
          </p:nvPr>
        </p:nvSpPr>
        <p:spPr>
          <a:xfrm>
            <a:off x="485776" y="1620838"/>
            <a:ext cx="1271904" cy="1271904"/>
          </a:xfrm>
          <a:prstGeom prst="rect">
            <a:avLst/>
          </a:prstGeom>
          <a:solidFill>
            <a:srgbClr val="F0F0F0"/>
          </a:solidFill>
        </p:spPr>
        <p:txBody>
          <a:bodyPr/>
          <a:lstStyle>
            <a:lvl1pPr algn="l">
              <a:defRPr sz="1200">
                <a:solidFill>
                  <a:srgbClr val="FF0000"/>
                </a:solidFill>
              </a:defRPr>
            </a:lvl1pPr>
          </a:lstStyle>
          <a:p>
            <a:r>
              <a:rPr lang="en-US" dirty="0" smtClean="0"/>
              <a:t>Click icon to add picture. Use “Crop” feature on “Format” tab to resize or reposition picture once added.</a:t>
            </a:r>
            <a:endParaRPr lang="en-US" dirty="0"/>
          </a:p>
        </p:txBody>
      </p:sp>
      <p:sp>
        <p:nvSpPr>
          <p:cNvPr id="32" name="Text Placeholder 3">
            <a:extLst>
              <a:ext uri="{FF2B5EF4-FFF2-40B4-BE49-F238E27FC236}">
                <a16:creationId xmlns:a16="http://schemas.microsoft.com/office/drawing/2014/main" id="{36990999-1C86-3C4A-9E86-512FFE509F06}"/>
              </a:ext>
            </a:extLst>
          </p:cNvPr>
          <p:cNvSpPr>
            <a:spLocks noGrp="1"/>
          </p:cNvSpPr>
          <p:nvPr>
            <p:ph type="body" sz="half" idx="19" hasCustomPrompt="1"/>
          </p:nvPr>
        </p:nvSpPr>
        <p:spPr>
          <a:xfrm>
            <a:off x="485777" y="2992474"/>
            <a:ext cx="2625724" cy="317655"/>
          </a:xfrm>
        </p:spPr>
        <p:txBody>
          <a:bodyPr/>
          <a:lstStyle>
            <a:lvl1pPr marL="0" indent="0">
              <a:spcBef>
                <a:spcPts val="0"/>
              </a:spcBef>
              <a:spcAft>
                <a:spcPts val="0"/>
              </a:spcAft>
              <a:buNone/>
              <a:defRPr sz="16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33" name="Text Placeholder 3">
            <a:extLst>
              <a:ext uri="{FF2B5EF4-FFF2-40B4-BE49-F238E27FC236}">
                <a16:creationId xmlns:a16="http://schemas.microsoft.com/office/drawing/2014/main" id="{0257D817-539C-DD4E-AE71-8174AB5D41C0}"/>
              </a:ext>
            </a:extLst>
          </p:cNvPr>
          <p:cNvSpPr>
            <a:spLocks noGrp="1"/>
          </p:cNvSpPr>
          <p:nvPr>
            <p:ph type="body" sz="half" idx="23" hasCustomPrompt="1"/>
          </p:nvPr>
        </p:nvSpPr>
        <p:spPr>
          <a:xfrm>
            <a:off x="485777" y="3310129"/>
            <a:ext cx="2625724" cy="317655"/>
          </a:xfrm>
        </p:spPr>
        <p:txBody>
          <a:bodyPr/>
          <a:lstStyle>
            <a:lvl1pPr marL="0" indent="0">
              <a:spcBef>
                <a:spcPts val="0"/>
              </a:spcBef>
              <a:spcAft>
                <a:spcPts val="0"/>
              </a:spcAft>
              <a:buNone/>
              <a:defRPr sz="16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34" name="Picture Placeholder 9">
            <a:extLst>
              <a:ext uri="{FF2B5EF4-FFF2-40B4-BE49-F238E27FC236}">
                <a16:creationId xmlns:a16="http://schemas.microsoft.com/office/drawing/2014/main" id="{B11D6A3E-C162-8842-B775-7875BEB0A85B}"/>
              </a:ext>
            </a:extLst>
          </p:cNvPr>
          <p:cNvSpPr>
            <a:spLocks noGrp="1" noChangeAspect="1"/>
          </p:cNvSpPr>
          <p:nvPr>
            <p:ph type="pic" sz="quarter" idx="24" hasCustomPrompt="1"/>
          </p:nvPr>
        </p:nvSpPr>
        <p:spPr>
          <a:xfrm>
            <a:off x="3361056" y="1620838"/>
            <a:ext cx="1271904" cy="1271904"/>
          </a:xfrm>
          <a:prstGeom prst="rect">
            <a:avLst/>
          </a:prstGeom>
          <a:solidFill>
            <a:srgbClr val="F0F0F0"/>
          </a:solidFill>
        </p:spPr>
        <p:txBody>
          <a:bodyPr/>
          <a:lstStyle>
            <a:lvl1pPr algn="l">
              <a:defRPr sz="1200">
                <a:solidFill>
                  <a:srgbClr val="FF0000"/>
                </a:solidFill>
              </a:defRPr>
            </a:lvl1pPr>
          </a:lstStyle>
          <a:p>
            <a:r>
              <a:rPr lang="en-US" dirty="0" smtClean="0"/>
              <a:t>Click icon to add picture. Use “Crop” feature on “Format” tab to resize or reposition picture once added.</a:t>
            </a:r>
            <a:endParaRPr lang="en-US" dirty="0"/>
          </a:p>
        </p:txBody>
      </p:sp>
      <p:sp>
        <p:nvSpPr>
          <p:cNvPr id="35" name="Picture Placeholder 9">
            <a:extLst>
              <a:ext uri="{FF2B5EF4-FFF2-40B4-BE49-F238E27FC236}">
                <a16:creationId xmlns:a16="http://schemas.microsoft.com/office/drawing/2014/main" id="{B11D6A3E-C162-8842-B775-7875BEB0A85B}"/>
              </a:ext>
            </a:extLst>
          </p:cNvPr>
          <p:cNvSpPr>
            <a:spLocks noGrp="1" noChangeAspect="1"/>
          </p:cNvSpPr>
          <p:nvPr>
            <p:ph type="pic" sz="quarter" idx="25" hasCustomPrompt="1"/>
          </p:nvPr>
        </p:nvSpPr>
        <p:spPr>
          <a:xfrm>
            <a:off x="6210300" y="1620838"/>
            <a:ext cx="1271904" cy="1271904"/>
          </a:xfrm>
          <a:prstGeom prst="rect">
            <a:avLst/>
          </a:prstGeom>
          <a:solidFill>
            <a:srgbClr val="F0F0F0"/>
          </a:solidFill>
        </p:spPr>
        <p:txBody>
          <a:bodyPr/>
          <a:lstStyle>
            <a:lvl1pPr algn="l">
              <a:defRPr sz="1200">
                <a:solidFill>
                  <a:srgbClr val="FF0000"/>
                </a:solidFill>
              </a:defRPr>
            </a:lvl1pPr>
          </a:lstStyle>
          <a:p>
            <a:r>
              <a:rPr lang="en-US" dirty="0" smtClean="0"/>
              <a:t>Click icon to add picture. Use “Crop” feature on “Format” tab to resize or reposition picture once added.</a:t>
            </a:r>
            <a:endParaRPr lang="en-US" dirty="0"/>
          </a:p>
        </p:txBody>
      </p:sp>
      <p:sp>
        <p:nvSpPr>
          <p:cNvPr id="36" name="Picture Placeholder 9">
            <a:extLst>
              <a:ext uri="{FF2B5EF4-FFF2-40B4-BE49-F238E27FC236}">
                <a16:creationId xmlns:a16="http://schemas.microsoft.com/office/drawing/2014/main" id="{B11D6A3E-C162-8842-B775-7875BEB0A85B}"/>
              </a:ext>
            </a:extLst>
          </p:cNvPr>
          <p:cNvSpPr>
            <a:spLocks noGrp="1" noChangeAspect="1"/>
          </p:cNvSpPr>
          <p:nvPr>
            <p:ph type="pic" sz="quarter" idx="26" hasCustomPrompt="1"/>
          </p:nvPr>
        </p:nvSpPr>
        <p:spPr>
          <a:xfrm>
            <a:off x="9080500" y="1620838"/>
            <a:ext cx="1271904" cy="1271904"/>
          </a:xfrm>
          <a:prstGeom prst="rect">
            <a:avLst/>
          </a:prstGeom>
          <a:solidFill>
            <a:srgbClr val="F0F0F0"/>
          </a:solidFill>
        </p:spPr>
        <p:txBody>
          <a:bodyPr/>
          <a:lstStyle>
            <a:lvl1pPr algn="l">
              <a:defRPr sz="1200">
                <a:solidFill>
                  <a:srgbClr val="FF0000"/>
                </a:solidFill>
              </a:defRPr>
            </a:lvl1pPr>
          </a:lstStyle>
          <a:p>
            <a:r>
              <a:rPr lang="en-US" dirty="0" smtClean="0"/>
              <a:t>Click icon to add picture. Use “Crop” feature on “Format” tab to resize or reposition picture once added.</a:t>
            </a:r>
            <a:endParaRPr lang="en-US" dirty="0"/>
          </a:p>
        </p:txBody>
      </p:sp>
      <p:sp>
        <p:nvSpPr>
          <p:cNvPr id="37" name="Text Placeholder 3">
            <a:extLst>
              <a:ext uri="{FF2B5EF4-FFF2-40B4-BE49-F238E27FC236}">
                <a16:creationId xmlns:a16="http://schemas.microsoft.com/office/drawing/2014/main" id="{36990999-1C86-3C4A-9E86-512FFE509F06}"/>
              </a:ext>
            </a:extLst>
          </p:cNvPr>
          <p:cNvSpPr>
            <a:spLocks noGrp="1"/>
          </p:cNvSpPr>
          <p:nvPr>
            <p:ph type="body" sz="half" idx="27" hasCustomPrompt="1"/>
          </p:nvPr>
        </p:nvSpPr>
        <p:spPr>
          <a:xfrm>
            <a:off x="3361057" y="2992474"/>
            <a:ext cx="2625724" cy="317655"/>
          </a:xfrm>
        </p:spPr>
        <p:txBody>
          <a:bodyPr/>
          <a:lstStyle>
            <a:lvl1pPr marL="0" indent="0">
              <a:spcBef>
                <a:spcPts val="0"/>
              </a:spcBef>
              <a:spcAft>
                <a:spcPts val="0"/>
              </a:spcAft>
              <a:buNone/>
              <a:defRPr sz="16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38" name="Text Placeholder 3">
            <a:extLst>
              <a:ext uri="{FF2B5EF4-FFF2-40B4-BE49-F238E27FC236}">
                <a16:creationId xmlns:a16="http://schemas.microsoft.com/office/drawing/2014/main" id="{0257D817-539C-DD4E-AE71-8174AB5D41C0}"/>
              </a:ext>
            </a:extLst>
          </p:cNvPr>
          <p:cNvSpPr>
            <a:spLocks noGrp="1"/>
          </p:cNvSpPr>
          <p:nvPr>
            <p:ph type="body" sz="half" idx="28" hasCustomPrompt="1"/>
          </p:nvPr>
        </p:nvSpPr>
        <p:spPr>
          <a:xfrm>
            <a:off x="3361057" y="3310129"/>
            <a:ext cx="2625724" cy="317655"/>
          </a:xfrm>
        </p:spPr>
        <p:txBody>
          <a:bodyPr/>
          <a:lstStyle>
            <a:lvl1pPr marL="0" indent="0">
              <a:spcBef>
                <a:spcPts val="0"/>
              </a:spcBef>
              <a:spcAft>
                <a:spcPts val="0"/>
              </a:spcAft>
              <a:buNone/>
              <a:defRPr sz="16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39" name="Text Placeholder 3">
            <a:extLst>
              <a:ext uri="{FF2B5EF4-FFF2-40B4-BE49-F238E27FC236}">
                <a16:creationId xmlns:a16="http://schemas.microsoft.com/office/drawing/2014/main" id="{36990999-1C86-3C4A-9E86-512FFE509F06}"/>
              </a:ext>
            </a:extLst>
          </p:cNvPr>
          <p:cNvSpPr>
            <a:spLocks noGrp="1"/>
          </p:cNvSpPr>
          <p:nvPr>
            <p:ph type="body" sz="half" idx="29" hasCustomPrompt="1"/>
          </p:nvPr>
        </p:nvSpPr>
        <p:spPr>
          <a:xfrm>
            <a:off x="6205857" y="2992474"/>
            <a:ext cx="2625724" cy="317655"/>
          </a:xfrm>
        </p:spPr>
        <p:txBody>
          <a:bodyPr/>
          <a:lstStyle>
            <a:lvl1pPr marL="0" indent="0">
              <a:spcBef>
                <a:spcPts val="0"/>
              </a:spcBef>
              <a:spcAft>
                <a:spcPts val="0"/>
              </a:spcAft>
              <a:buNone/>
              <a:defRPr sz="16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40" name="Text Placeholder 3">
            <a:extLst>
              <a:ext uri="{FF2B5EF4-FFF2-40B4-BE49-F238E27FC236}">
                <a16:creationId xmlns:a16="http://schemas.microsoft.com/office/drawing/2014/main" id="{0257D817-539C-DD4E-AE71-8174AB5D41C0}"/>
              </a:ext>
            </a:extLst>
          </p:cNvPr>
          <p:cNvSpPr>
            <a:spLocks noGrp="1"/>
          </p:cNvSpPr>
          <p:nvPr>
            <p:ph type="body" sz="half" idx="30" hasCustomPrompt="1"/>
          </p:nvPr>
        </p:nvSpPr>
        <p:spPr>
          <a:xfrm>
            <a:off x="6205857" y="3310129"/>
            <a:ext cx="2625724" cy="317655"/>
          </a:xfrm>
        </p:spPr>
        <p:txBody>
          <a:bodyPr/>
          <a:lstStyle>
            <a:lvl1pPr marL="0" indent="0">
              <a:spcBef>
                <a:spcPts val="0"/>
              </a:spcBef>
              <a:spcAft>
                <a:spcPts val="0"/>
              </a:spcAft>
              <a:buNone/>
              <a:defRPr sz="16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41" name="Text Placeholder 3">
            <a:extLst>
              <a:ext uri="{FF2B5EF4-FFF2-40B4-BE49-F238E27FC236}">
                <a16:creationId xmlns:a16="http://schemas.microsoft.com/office/drawing/2014/main" id="{36990999-1C86-3C4A-9E86-512FFE509F06}"/>
              </a:ext>
            </a:extLst>
          </p:cNvPr>
          <p:cNvSpPr>
            <a:spLocks noGrp="1"/>
          </p:cNvSpPr>
          <p:nvPr>
            <p:ph type="body" sz="half" idx="31" hasCustomPrompt="1"/>
          </p:nvPr>
        </p:nvSpPr>
        <p:spPr>
          <a:xfrm>
            <a:off x="9081137" y="2992474"/>
            <a:ext cx="2625724" cy="317655"/>
          </a:xfrm>
        </p:spPr>
        <p:txBody>
          <a:bodyPr/>
          <a:lstStyle>
            <a:lvl1pPr marL="0" indent="0">
              <a:spcBef>
                <a:spcPts val="0"/>
              </a:spcBef>
              <a:spcAft>
                <a:spcPts val="0"/>
              </a:spcAft>
              <a:buNone/>
              <a:defRPr sz="16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42" name="Text Placeholder 3">
            <a:extLst>
              <a:ext uri="{FF2B5EF4-FFF2-40B4-BE49-F238E27FC236}">
                <a16:creationId xmlns:a16="http://schemas.microsoft.com/office/drawing/2014/main" id="{0257D817-539C-DD4E-AE71-8174AB5D41C0}"/>
              </a:ext>
            </a:extLst>
          </p:cNvPr>
          <p:cNvSpPr>
            <a:spLocks noGrp="1"/>
          </p:cNvSpPr>
          <p:nvPr>
            <p:ph type="body" sz="half" idx="32" hasCustomPrompt="1"/>
          </p:nvPr>
        </p:nvSpPr>
        <p:spPr>
          <a:xfrm>
            <a:off x="9081137" y="3310129"/>
            <a:ext cx="2625724" cy="317655"/>
          </a:xfrm>
        </p:spPr>
        <p:txBody>
          <a:bodyPr/>
          <a:lstStyle>
            <a:lvl1pPr marL="0" indent="0">
              <a:spcBef>
                <a:spcPts val="0"/>
              </a:spcBef>
              <a:spcAft>
                <a:spcPts val="0"/>
              </a:spcAft>
              <a:buNone/>
              <a:defRPr sz="16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47" name="Picture Placeholder 9">
            <a:extLst>
              <a:ext uri="{FF2B5EF4-FFF2-40B4-BE49-F238E27FC236}">
                <a16:creationId xmlns:a16="http://schemas.microsoft.com/office/drawing/2014/main" id="{B11D6A3E-C162-8842-B775-7875BEB0A85B}"/>
              </a:ext>
            </a:extLst>
          </p:cNvPr>
          <p:cNvSpPr>
            <a:spLocks noGrp="1" noChangeAspect="1"/>
          </p:cNvSpPr>
          <p:nvPr>
            <p:ph type="pic" sz="quarter" idx="33" hasCustomPrompt="1"/>
          </p:nvPr>
        </p:nvSpPr>
        <p:spPr>
          <a:xfrm>
            <a:off x="485776" y="3916998"/>
            <a:ext cx="1271904" cy="1271904"/>
          </a:xfrm>
          <a:prstGeom prst="rect">
            <a:avLst/>
          </a:prstGeom>
          <a:solidFill>
            <a:srgbClr val="F0F0F0"/>
          </a:solidFill>
        </p:spPr>
        <p:txBody>
          <a:bodyPr/>
          <a:lstStyle>
            <a:lvl1pPr algn="l">
              <a:defRPr sz="1200">
                <a:solidFill>
                  <a:srgbClr val="FF0000"/>
                </a:solidFill>
              </a:defRPr>
            </a:lvl1pPr>
          </a:lstStyle>
          <a:p>
            <a:r>
              <a:rPr lang="en-US" dirty="0" smtClean="0"/>
              <a:t>Click icon to add picture. Use “Crop” feature on “Format” tab to resize or reposition picture once added.</a:t>
            </a:r>
            <a:endParaRPr lang="en-US" dirty="0"/>
          </a:p>
        </p:txBody>
      </p:sp>
      <p:sp>
        <p:nvSpPr>
          <p:cNvPr id="48" name="Text Placeholder 3">
            <a:extLst>
              <a:ext uri="{FF2B5EF4-FFF2-40B4-BE49-F238E27FC236}">
                <a16:creationId xmlns:a16="http://schemas.microsoft.com/office/drawing/2014/main" id="{36990999-1C86-3C4A-9E86-512FFE509F06}"/>
              </a:ext>
            </a:extLst>
          </p:cNvPr>
          <p:cNvSpPr>
            <a:spLocks noGrp="1"/>
          </p:cNvSpPr>
          <p:nvPr>
            <p:ph type="body" sz="half" idx="34" hasCustomPrompt="1"/>
          </p:nvPr>
        </p:nvSpPr>
        <p:spPr>
          <a:xfrm>
            <a:off x="485777" y="5288634"/>
            <a:ext cx="2625724" cy="317655"/>
          </a:xfrm>
        </p:spPr>
        <p:txBody>
          <a:bodyPr/>
          <a:lstStyle>
            <a:lvl1pPr marL="0" indent="0">
              <a:spcBef>
                <a:spcPts val="0"/>
              </a:spcBef>
              <a:spcAft>
                <a:spcPts val="0"/>
              </a:spcAft>
              <a:buNone/>
              <a:defRPr sz="16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49" name="Text Placeholder 3">
            <a:extLst>
              <a:ext uri="{FF2B5EF4-FFF2-40B4-BE49-F238E27FC236}">
                <a16:creationId xmlns:a16="http://schemas.microsoft.com/office/drawing/2014/main" id="{0257D817-539C-DD4E-AE71-8174AB5D41C0}"/>
              </a:ext>
            </a:extLst>
          </p:cNvPr>
          <p:cNvSpPr>
            <a:spLocks noGrp="1"/>
          </p:cNvSpPr>
          <p:nvPr>
            <p:ph type="body" sz="half" idx="35" hasCustomPrompt="1"/>
          </p:nvPr>
        </p:nvSpPr>
        <p:spPr>
          <a:xfrm>
            <a:off x="485777" y="5606289"/>
            <a:ext cx="2625724" cy="317655"/>
          </a:xfrm>
        </p:spPr>
        <p:txBody>
          <a:bodyPr/>
          <a:lstStyle>
            <a:lvl1pPr marL="0" indent="0">
              <a:spcBef>
                <a:spcPts val="0"/>
              </a:spcBef>
              <a:spcAft>
                <a:spcPts val="0"/>
              </a:spcAft>
              <a:buNone/>
              <a:defRPr sz="16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50" name="Picture Placeholder 9">
            <a:extLst>
              <a:ext uri="{FF2B5EF4-FFF2-40B4-BE49-F238E27FC236}">
                <a16:creationId xmlns:a16="http://schemas.microsoft.com/office/drawing/2014/main" id="{B11D6A3E-C162-8842-B775-7875BEB0A85B}"/>
              </a:ext>
            </a:extLst>
          </p:cNvPr>
          <p:cNvSpPr>
            <a:spLocks noGrp="1" noChangeAspect="1"/>
          </p:cNvSpPr>
          <p:nvPr>
            <p:ph type="pic" sz="quarter" idx="36" hasCustomPrompt="1"/>
          </p:nvPr>
        </p:nvSpPr>
        <p:spPr>
          <a:xfrm>
            <a:off x="3361056" y="3916998"/>
            <a:ext cx="1271904" cy="1271904"/>
          </a:xfrm>
          <a:prstGeom prst="rect">
            <a:avLst/>
          </a:prstGeom>
          <a:solidFill>
            <a:srgbClr val="F0F0F0"/>
          </a:solidFill>
        </p:spPr>
        <p:txBody>
          <a:bodyPr/>
          <a:lstStyle>
            <a:lvl1pPr algn="l">
              <a:defRPr sz="1200">
                <a:solidFill>
                  <a:srgbClr val="FF0000"/>
                </a:solidFill>
              </a:defRPr>
            </a:lvl1pPr>
          </a:lstStyle>
          <a:p>
            <a:r>
              <a:rPr lang="en-US" dirty="0" smtClean="0"/>
              <a:t>Click icon to add picture. Use “Crop” feature on “Format” tab to resize or reposition picture once added.</a:t>
            </a:r>
            <a:endParaRPr lang="en-US" dirty="0"/>
          </a:p>
        </p:txBody>
      </p:sp>
      <p:sp>
        <p:nvSpPr>
          <p:cNvPr id="51" name="Picture Placeholder 9">
            <a:extLst>
              <a:ext uri="{FF2B5EF4-FFF2-40B4-BE49-F238E27FC236}">
                <a16:creationId xmlns:a16="http://schemas.microsoft.com/office/drawing/2014/main" id="{B11D6A3E-C162-8842-B775-7875BEB0A85B}"/>
              </a:ext>
            </a:extLst>
          </p:cNvPr>
          <p:cNvSpPr>
            <a:spLocks noGrp="1" noChangeAspect="1"/>
          </p:cNvSpPr>
          <p:nvPr>
            <p:ph type="pic" sz="quarter" idx="37" hasCustomPrompt="1"/>
          </p:nvPr>
        </p:nvSpPr>
        <p:spPr>
          <a:xfrm>
            <a:off x="6210300" y="3916998"/>
            <a:ext cx="1271904" cy="1271904"/>
          </a:xfrm>
          <a:prstGeom prst="rect">
            <a:avLst/>
          </a:prstGeom>
          <a:solidFill>
            <a:srgbClr val="F0F0F0"/>
          </a:solidFill>
        </p:spPr>
        <p:txBody>
          <a:bodyPr/>
          <a:lstStyle>
            <a:lvl1pPr algn="l">
              <a:defRPr sz="1200">
                <a:solidFill>
                  <a:srgbClr val="FF0000"/>
                </a:solidFill>
              </a:defRPr>
            </a:lvl1pPr>
          </a:lstStyle>
          <a:p>
            <a:r>
              <a:rPr lang="en-US" dirty="0" smtClean="0"/>
              <a:t>Click icon to add picture. Use “Crop” feature on “Format” tab to resize or reposition picture once added.</a:t>
            </a:r>
            <a:endParaRPr lang="en-US" dirty="0"/>
          </a:p>
        </p:txBody>
      </p:sp>
      <p:sp>
        <p:nvSpPr>
          <p:cNvPr id="52" name="Picture Placeholder 9">
            <a:extLst>
              <a:ext uri="{FF2B5EF4-FFF2-40B4-BE49-F238E27FC236}">
                <a16:creationId xmlns:a16="http://schemas.microsoft.com/office/drawing/2014/main" id="{B11D6A3E-C162-8842-B775-7875BEB0A85B}"/>
              </a:ext>
            </a:extLst>
          </p:cNvPr>
          <p:cNvSpPr>
            <a:spLocks noGrp="1" noChangeAspect="1"/>
          </p:cNvSpPr>
          <p:nvPr>
            <p:ph type="pic" sz="quarter" idx="38" hasCustomPrompt="1"/>
          </p:nvPr>
        </p:nvSpPr>
        <p:spPr>
          <a:xfrm>
            <a:off x="9080500" y="3916998"/>
            <a:ext cx="1271904" cy="1271904"/>
          </a:xfrm>
          <a:prstGeom prst="rect">
            <a:avLst/>
          </a:prstGeom>
          <a:solidFill>
            <a:srgbClr val="F0F0F0"/>
          </a:solidFill>
        </p:spPr>
        <p:txBody>
          <a:bodyPr/>
          <a:lstStyle>
            <a:lvl1pPr algn="l">
              <a:defRPr sz="1200">
                <a:solidFill>
                  <a:srgbClr val="FF0000"/>
                </a:solidFill>
              </a:defRPr>
            </a:lvl1pPr>
          </a:lstStyle>
          <a:p>
            <a:r>
              <a:rPr lang="en-US" dirty="0" smtClean="0"/>
              <a:t>Click icon to add picture. Use “Crop” feature on “Format” tab to resize or reposition picture once added.</a:t>
            </a:r>
            <a:endParaRPr lang="en-US" dirty="0"/>
          </a:p>
        </p:txBody>
      </p:sp>
      <p:sp>
        <p:nvSpPr>
          <p:cNvPr id="53" name="Text Placeholder 3">
            <a:extLst>
              <a:ext uri="{FF2B5EF4-FFF2-40B4-BE49-F238E27FC236}">
                <a16:creationId xmlns:a16="http://schemas.microsoft.com/office/drawing/2014/main" id="{36990999-1C86-3C4A-9E86-512FFE509F06}"/>
              </a:ext>
            </a:extLst>
          </p:cNvPr>
          <p:cNvSpPr>
            <a:spLocks noGrp="1"/>
          </p:cNvSpPr>
          <p:nvPr>
            <p:ph type="body" sz="half" idx="39" hasCustomPrompt="1"/>
          </p:nvPr>
        </p:nvSpPr>
        <p:spPr>
          <a:xfrm>
            <a:off x="3361057" y="5288634"/>
            <a:ext cx="2625724" cy="317655"/>
          </a:xfrm>
        </p:spPr>
        <p:txBody>
          <a:bodyPr/>
          <a:lstStyle>
            <a:lvl1pPr marL="0" indent="0">
              <a:spcBef>
                <a:spcPts val="0"/>
              </a:spcBef>
              <a:spcAft>
                <a:spcPts val="0"/>
              </a:spcAft>
              <a:buNone/>
              <a:defRPr sz="16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54" name="Text Placeholder 3">
            <a:extLst>
              <a:ext uri="{FF2B5EF4-FFF2-40B4-BE49-F238E27FC236}">
                <a16:creationId xmlns:a16="http://schemas.microsoft.com/office/drawing/2014/main" id="{0257D817-539C-DD4E-AE71-8174AB5D41C0}"/>
              </a:ext>
            </a:extLst>
          </p:cNvPr>
          <p:cNvSpPr>
            <a:spLocks noGrp="1"/>
          </p:cNvSpPr>
          <p:nvPr>
            <p:ph type="body" sz="half" idx="40" hasCustomPrompt="1"/>
          </p:nvPr>
        </p:nvSpPr>
        <p:spPr>
          <a:xfrm>
            <a:off x="3361057" y="5606289"/>
            <a:ext cx="2625724" cy="317655"/>
          </a:xfrm>
        </p:spPr>
        <p:txBody>
          <a:bodyPr/>
          <a:lstStyle>
            <a:lvl1pPr marL="0" indent="0">
              <a:spcBef>
                <a:spcPts val="0"/>
              </a:spcBef>
              <a:spcAft>
                <a:spcPts val="0"/>
              </a:spcAft>
              <a:buNone/>
              <a:defRPr sz="16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55" name="Text Placeholder 3">
            <a:extLst>
              <a:ext uri="{FF2B5EF4-FFF2-40B4-BE49-F238E27FC236}">
                <a16:creationId xmlns:a16="http://schemas.microsoft.com/office/drawing/2014/main" id="{36990999-1C86-3C4A-9E86-512FFE509F06}"/>
              </a:ext>
            </a:extLst>
          </p:cNvPr>
          <p:cNvSpPr>
            <a:spLocks noGrp="1"/>
          </p:cNvSpPr>
          <p:nvPr>
            <p:ph type="body" sz="half" idx="41" hasCustomPrompt="1"/>
          </p:nvPr>
        </p:nvSpPr>
        <p:spPr>
          <a:xfrm>
            <a:off x="6205857" y="5288634"/>
            <a:ext cx="2625724" cy="317655"/>
          </a:xfrm>
        </p:spPr>
        <p:txBody>
          <a:bodyPr/>
          <a:lstStyle>
            <a:lvl1pPr marL="0" indent="0">
              <a:spcBef>
                <a:spcPts val="0"/>
              </a:spcBef>
              <a:spcAft>
                <a:spcPts val="0"/>
              </a:spcAft>
              <a:buNone/>
              <a:defRPr sz="16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56" name="Text Placeholder 3">
            <a:extLst>
              <a:ext uri="{FF2B5EF4-FFF2-40B4-BE49-F238E27FC236}">
                <a16:creationId xmlns:a16="http://schemas.microsoft.com/office/drawing/2014/main" id="{0257D817-539C-DD4E-AE71-8174AB5D41C0}"/>
              </a:ext>
            </a:extLst>
          </p:cNvPr>
          <p:cNvSpPr>
            <a:spLocks noGrp="1"/>
          </p:cNvSpPr>
          <p:nvPr>
            <p:ph type="body" sz="half" idx="42" hasCustomPrompt="1"/>
          </p:nvPr>
        </p:nvSpPr>
        <p:spPr>
          <a:xfrm>
            <a:off x="6205857" y="5606289"/>
            <a:ext cx="2625724" cy="317655"/>
          </a:xfrm>
        </p:spPr>
        <p:txBody>
          <a:bodyPr/>
          <a:lstStyle>
            <a:lvl1pPr marL="0" indent="0">
              <a:spcBef>
                <a:spcPts val="0"/>
              </a:spcBef>
              <a:spcAft>
                <a:spcPts val="0"/>
              </a:spcAft>
              <a:buNone/>
              <a:defRPr sz="16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57" name="Text Placeholder 3">
            <a:extLst>
              <a:ext uri="{FF2B5EF4-FFF2-40B4-BE49-F238E27FC236}">
                <a16:creationId xmlns:a16="http://schemas.microsoft.com/office/drawing/2014/main" id="{36990999-1C86-3C4A-9E86-512FFE509F06}"/>
              </a:ext>
            </a:extLst>
          </p:cNvPr>
          <p:cNvSpPr>
            <a:spLocks noGrp="1"/>
          </p:cNvSpPr>
          <p:nvPr>
            <p:ph type="body" sz="half" idx="43" hasCustomPrompt="1"/>
          </p:nvPr>
        </p:nvSpPr>
        <p:spPr>
          <a:xfrm>
            <a:off x="9081137" y="5288634"/>
            <a:ext cx="2625724" cy="317655"/>
          </a:xfrm>
        </p:spPr>
        <p:txBody>
          <a:bodyPr/>
          <a:lstStyle>
            <a:lvl1pPr marL="0" indent="0">
              <a:spcBef>
                <a:spcPts val="0"/>
              </a:spcBef>
              <a:spcAft>
                <a:spcPts val="0"/>
              </a:spcAft>
              <a:buNone/>
              <a:defRPr sz="16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58" name="Text Placeholder 3">
            <a:extLst>
              <a:ext uri="{FF2B5EF4-FFF2-40B4-BE49-F238E27FC236}">
                <a16:creationId xmlns:a16="http://schemas.microsoft.com/office/drawing/2014/main" id="{0257D817-539C-DD4E-AE71-8174AB5D41C0}"/>
              </a:ext>
            </a:extLst>
          </p:cNvPr>
          <p:cNvSpPr>
            <a:spLocks noGrp="1"/>
          </p:cNvSpPr>
          <p:nvPr>
            <p:ph type="body" sz="half" idx="44" hasCustomPrompt="1"/>
          </p:nvPr>
        </p:nvSpPr>
        <p:spPr>
          <a:xfrm>
            <a:off x="9081137" y="5606289"/>
            <a:ext cx="2625724" cy="317655"/>
          </a:xfrm>
        </p:spPr>
        <p:txBody>
          <a:bodyPr/>
          <a:lstStyle>
            <a:lvl1pPr marL="0" indent="0">
              <a:spcBef>
                <a:spcPts val="0"/>
              </a:spcBef>
              <a:spcAft>
                <a:spcPts val="0"/>
              </a:spcAft>
              <a:buNone/>
              <a:defRPr sz="16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Tree>
    <p:extLst>
      <p:ext uri="{BB962C8B-B14F-4D97-AF65-F5344CB8AC3E}">
        <p14:creationId xmlns:p14="http://schemas.microsoft.com/office/powerpoint/2010/main" val="76106522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QUOTES">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3D1D590-820D-DB4B-B4DE-E39929241090}"/>
              </a:ext>
            </a:extLst>
          </p:cNvPr>
          <p:cNvGraphicFramePr>
            <a:graphicFrameLocks noChangeAspect="1"/>
          </p:cNvGraphicFramePr>
          <p:nvPr>
            <p:custDataLst>
              <p:tags r:id="rId2"/>
            </p:custDataLst>
            <p:extLst>
              <p:ext uri="{D42A27DB-BD31-4B8C-83A1-F6EECF244321}">
                <p14:modId xmlns:p14="http://schemas.microsoft.com/office/powerpoint/2010/main" val="325611608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4871"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B3D1D590-820D-DB4B-B4DE-E39929241090}"/>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454EA0D7-47B3-5149-B51A-CABC5742FBE7}"/>
              </a:ext>
            </a:extLst>
          </p:cNvPr>
          <p:cNvSpPr txBox="1"/>
          <p:nvPr/>
        </p:nvSpPr>
        <p:spPr>
          <a:xfrm>
            <a:off x="374977" y="2505671"/>
            <a:ext cx="5331588" cy="1846659"/>
          </a:xfrm>
          <a:prstGeom prst="rect">
            <a:avLst/>
          </a:prstGeom>
          <a:noFill/>
        </p:spPr>
        <p:txBody>
          <a:bodyPr wrap="none" lIns="0" tIns="0" rIns="0" bIns="0" rtlCol="0" anchor="ctr">
            <a:spAutoFit/>
          </a:bodyPr>
          <a:lstStyle/>
          <a:p>
            <a:pPr algn="l"/>
            <a:r>
              <a:rPr lang="en-US" sz="12000" b="1" i="0" dirty="0">
                <a:solidFill>
                  <a:schemeClr val="bg1"/>
                </a:solidFill>
                <a:latin typeface="Arial Narrow" panose="020B0604020202020204" pitchFamily="34" charset="0"/>
                <a:cs typeface="Arial Narrow" panose="020B0604020202020204" pitchFamily="34" charset="0"/>
              </a:rPr>
              <a:t>QUOTES</a:t>
            </a:r>
          </a:p>
        </p:txBody>
      </p:sp>
    </p:spTree>
    <p:extLst>
      <p:ext uri="{BB962C8B-B14F-4D97-AF65-F5344CB8AC3E}">
        <p14:creationId xmlns:p14="http://schemas.microsoft.com/office/powerpoint/2010/main" val="35240138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with takeaway">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5AFEB67-91FA-AF46-907B-E0F184EFDDD9}"/>
              </a:ext>
            </a:extLst>
          </p:cNvPr>
          <p:cNvGraphicFramePr>
            <a:graphicFrameLocks noChangeAspect="1"/>
          </p:cNvGraphicFramePr>
          <p:nvPr>
            <p:custDataLst>
              <p:tags r:id="rId2"/>
            </p:custDataLst>
            <p:extLst>
              <p:ext uri="{D42A27DB-BD31-4B8C-83A1-F6EECF244321}">
                <p14:modId xmlns:p14="http://schemas.microsoft.com/office/powerpoint/2010/main" val="295009865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5577"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15AFEB67-91FA-AF46-907B-E0F184EFDDD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9" name="Text Placeholder 3">
            <a:extLst>
              <a:ext uri="{FF2B5EF4-FFF2-40B4-BE49-F238E27FC236}">
                <a16:creationId xmlns:a16="http://schemas.microsoft.com/office/drawing/2014/main" id="{773DA736-E5DF-844D-B5DD-D8BB742411F8}"/>
              </a:ext>
            </a:extLst>
          </p:cNvPr>
          <p:cNvSpPr>
            <a:spLocks noGrp="1"/>
          </p:cNvSpPr>
          <p:nvPr>
            <p:ph type="body" sz="half" idx="10" hasCustomPrompt="1"/>
          </p:nvPr>
        </p:nvSpPr>
        <p:spPr>
          <a:xfrm>
            <a:off x="6210301" y="6388100"/>
            <a:ext cx="4546600" cy="247650"/>
          </a:xfrm>
        </p:spPr>
        <p:txBody>
          <a:bodyPr anchor="b"/>
          <a:lstStyle>
            <a:lvl1pPr marL="0" indent="0" algn="r">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a footnote</a:t>
            </a:r>
          </a:p>
        </p:txBody>
      </p:sp>
      <p:sp>
        <p:nvSpPr>
          <p:cNvPr id="7" name="Content Placeholder 6">
            <a:extLst>
              <a:ext uri="{FF2B5EF4-FFF2-40B4-BE49-F238E27FC236}">
                <a16:creationId xmlns:a16="http://schemas.microsoft.com/office/drawing/2014/main" id="{56C7917B-E936-2847-936C-8884185B0013}"/>
              </a:ext>
            </a:extLst>
          </p:cNvPr>
          <p:cNvSpPr>
            <a:spLocks noGrp="1"/>
          </p:cNvSpPr>
          <p:nvPr>
            <p:ph sz="quarter" idx="11"/>
          </p:nvPr>
        </p:nvSpPr>
        <p:spPr>
          <a:xfrm>
            <a:off x="485776" y="1612900"/>
            <a:ext cx="11223624" cy="3642006"/>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Title 1">
            <a:extLst>
              <a:ext uri="{FF2B5EF4-FFF2-40B4-BE49-F238E27FC236}">
                <a16:creationId xmlns:a16="http://schemas.microsoft.com/office/drawing/2014/main" id="{53DD64E3-026E-A04D-AC24-029A817E8291}"/>
              </a:ext>
            </a:extLst>
          </p:cNvPr>
          <p:cNvSpPr>
            <a:spLocks noGrp="1"/>
          </p:cNvSpPr>
          <p:nvPr>
            <p:ph type="title" hasCustomPrompt="1"/>
          </p:nvPr>
        </p:nvSpPr>
        <p:spPr>
          <a:xfrm>
            <a:off x="457200" y="355601"/>
            <a:ext cx="11252199" cy="495299"/>
          </a:xfrm>
        </p:spPr>
        <p:txBody>
          <a:bodyPr vert="horz"/>
          <a:lstStyle/>
          <a:p>
            <a:r>
              <a:rPr lang="en-US" dirty="0"/>
              <a:t>Click to add title</a:t>
            </a:r>
          </a:p>
        </p:txBody>
      </p:sp>
      <p:sp>
        <p:nvSpPr>
          <p:cNvPr id="11" name="Text Placeholder 3">
            <a:extLst>
              <a:ext uri="{FF2B5EF4-FFF2-40B4-BE49-F238E27FC236}">
                <a16:creationId xmlns:a16="http://schemas.microsoft.com/office/drawing/2014/main" id="{F2D0924E-7A15-6045-86EA-6E2333478DE4}"/>
              </a:ext>
            </a:extLst>
          </p:cNvPr>
          <p:cNvSpPr>
            <a:spLocks noGrp="1"/>
          </p:cNvSpPr>
          <p:nvPr>
            <p:ph type="body" sz="half" idx="2"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Click to add optional subtitle – remove if not needed</a:t>
            </a:r>
            <a:endParaRPr lang="en-US" dirty="0"/>
          </a:p>
        </p:txBody>
      </p:sp>
      <p:sp>
        <p:nvSpPr>
          <p:cNvPr id="8" name="Text Placeholder 2"/>
          <p:cNvSpPr>
            <a:spLocks noGrp="1"/>
          </p:cNvSpPr>
          <p:nvPr>
            <p:ph type="body" sz="quarter" idx="12" hasCustomPrompt="1"/>
          </p:nvPr>
        </p:nvSpPr>
        <p:spPr>
          <a:xfrm>
            <a:off x="457200" y="5610797"/>
            <a:ext cx="11252200" cy="511175"/>
          </a:xfrm>
        </p:spPr>
        <p:txBody>
          <a:bodyPr/>
          <a:lstStyle>
            <a:lvl1pPr marL="0" marR="0" indent="0" algn="ctr" defTabSz="457200" rtl="0" eaLnBrk="1" fontAlgn="auto" latinLnBrk="0" hangingPunct="1">
              <a:lnSpc>
                <a:spcPct val="100000"/>
              </a:lnSpc>
              <a:spcBef>
                <a:spcPts val="0"/>
              </a:spcBef>
              <a:spcAft>
                <a:spcPts val="0"/>
              </a:spcAft>
              <a:buClrTx/>
              <a:buSzTx/>
              <a:buFont typeface="Arial"/>
              <a:buNone/>
              <a:tabLst/>
              <a:defRPr sz="1800" i="1">
                <a:solidFill>
                  <a:srgbClr val="FF8C00"/>
                </a:solidFill>
              </a:defRPr>
            </a:lvl1pPr>
          </a:lstStyle>
          <a:p>
            <a:pPr lvl="0"/>
            <a:r>
              <a:rPr lang="en-US" dirty="0" smtClean="0"/>
              <a:t>Optional takeaway goes here in this format</a:t>
            </a:r>
          </a:p>
        </p:txBody>
      </p:sp>
    </p:spTree>
    <p:extLst>
      <p:ext uri="{BB962C8B-B14F-4D97-AF65-F5344CB8AC3E}">
        <p14:creationId xmlns:p14="http://schemas.microsoft.com/office/powerpoint/2010/main" val="135150252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B160A2B-5371-CA41-BD2F-F42585E23A68}"/>
              </a:ext>
            </a:extLst>
          </p:cNvPr>
          <p:cNvGraphicFramePr>
            <a:graphicFrameLocks noChangeAspect="1"/>
          </p:cNvGraphicFramePr>
          <p:nvPr>
            <p:custDataLst>
              <p:tags r:id="rId2"/>
            </p:custDataLst>
            <p:extLst>
              <p:ext uri="{D42A27DB-BD31-4B8C-83A1-F6EECF244321}">
                <p14:modId xmlns:p14="http://schemas.microsoft.com/office/powerpoint/2010/main" val="333848918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5895"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7B160A2B-5371-CA41-BD2F-F42585E23A68}"/>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Text Placeholder 6">
            <a:extLst>
              <a:ext uri="{FF2B5EF4-FFF2-40B4-BE49-F238E27FC236}">
                <a16:creationId xmlns:a16="http://schemas.microsoft.com/office/drawing/2014/main" id="{6F09CC93-7A2B-5149-9FA1-5215EC8FA590}"/>
              </a:ext>
            </a:extLst>
          </p:cNvPr>
          <p:cNvSpPr>
            <a:spLocks noGrp="1"/>
          </p:cNvSpPr>
          <p:nvPr>
            <p:ph type="body" sz="quarter" idx="10" hasCustomPrompt="1"/>
          </p:nvPr>
        </p:nvSpPr>
        <p:spPr>
          <a:xfrm>
            <a:off x="489712" y="1609725"/>
            <a:ext cx="7400925" cy="3259138"/>
          </a:xfrm>
        </p:spPr>
        <p:txBody>
          <a:bodyPr/>
          <a:lstStyle>
            <a:lvl1pPr>
              <a:defRPr sz="5400" b="1">
                <a:solidFill>
                  <a:schemeClr val="tx2"/>
                </a:solidFill>
              </a:defRPr>
            </a:lvl1pPr>
          </a:lstStyle>
          <a:p>
            <a:pPr lvl="0"/>
            <a:r>
              <a:rPr lang="en-US" dirty="0"/>
              <a:t>Click to add quote</a:t>
            </a:r>
          </a:p>
        </p:txBody>
      </p:sp>
      <p:sp>
        <p:nvSpPr>
          <p:cNvPr id="9" name="Text Placeholder 3">
            <a:extLst>
              <a:ext uri="{FF2B5EF4-FFF2-40B4-BE49-F238E27FC236}">
                <a16:creationId xmlns:a16="http://schemas.microsoft.com/office/drawing/2014/main" id="{2C68D909-7F77-144F-A778-CADD0466B483}"/>
              </a:ext>
            </a:extLst>
          </p:cNvPr>
          <p:cNvSpPr>
            <a:spLocks noGrp="1"/>
          </p:cNvSpPr>
          <p:nvPr>
            <p:ph type="body" sz="half" idx="2" hasCustomPrompt="1"/>
          </p:nvPr>
        </p:nvSpPr>
        <p:spPr>
          <a:xfrm>
            <a:off x="485776" y="4979815"/>
            <a:ext cx="3578224" cy="803619"/>
          </a:xfrm>
        </p:spPr>
        <p:txBody>
          <a:bodyPr anchor="t"/>
          <a:lstStyle>
            <a:lvl1pPr marL="179388" indent="-179388">
              <a:lnSpc>
                <a:spcPct val="100000"/>
              </a:lnSpc>
              <a:buFont typeface="System Font Regular"/>
              <a:buChar char="–"/>
              <a:tabLst/>
              <a:defRPr lang="en-US" sz="1600" smtClean="0">
                <a:solidFill>
                  <a:schemeClr val="tx2"/>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r>
              <a:rPr lang="en-US" dirty="0">
                <a:effectLst/>
                <a:latin typeface="Arial" panose="020B0604020202020204" pitchFamily="34" charset="0"/>
              </a:rPr>
              <a:t>Click to add author</a:t>
            </a:r>
          </a:p>
        </p:txBody>
      </p:sp>
      <p:grpSp>
        <p:nvGrpSpPr>
          <p:cNvPr id="10" name="Group 9"/>
          <p:cNvGrpSpPr/>
          <p:nvPr userDrawn="1"/>
        </p:nvGrpSpPr>
        <p:grpSpPr>
          <a:xfrm>
            <a:off x="481775" y="722372"/>
            <a:ext cx="1017382" cy="857508"/>
            <a:chOff x="3657600" y="2450592"/>
            <a:chExt cx="2560320" cy="2157984"/>
          </a:xfrm>
        </p:grpSpPr>
        <p:sp>
          <p:nvSpPr>
            <p:cNvPr id="11" name="Freeform 10"/>
            <p:cNvSpPr/>
            <p:nvPr userDrawn="1"/>
          </p:nvSpPr>
          <p:spPr>
            <a:xfrm>
              <a:off x="3657600" y="2450592"/>
              <a:ext cx="1194816" cy="2157984"/>
            </a:xfrm>
            <a:custGeom>
              <a:avLst/>
              <a:gdLst>
                <a:gd name="connsiteX0" fmla="*/ 0 w 1194816"/>
                <a:gd name="connsiteY0" fmla="*/ 2157984 h 2157984"/>
                <a:gd name="connsiteX1" fmla="*/ 1194816 w 1194816"/>
                <a:gd name="connsiteY1" fmla="*/ 2157984 h 2157984"/>
                <a:gd name="connsiteX2" fmla="*/ 1194816 w 1194816"/>
                <a:gd name="connsiteY2" fmla="*/ 1097280 h 2157984"/>
                <a:gd name="connsiteX3" fmla="*/ 762000 w 1194816"/>
                <a:gd name="connsiteY3" fmla="*/ 1097280 h 2157984"/>
                <a:gd name="connsiteX4" fmla="*/ 1103376 w 1194816"/>
                <a:gd name="connsiteY4" fmla="*/ 0 h 2157984"/>
                <a:gd name="connsiteX5" fmla="*/ 932688 w 1194816"/>
                <a:gd name="connsiteY5" fmla="*/ 0 h 2157984"/>
                <a:gd name="connsiteX6" fmla="*/ 6096 w 1194816"/>
                <a:gd name="connsiteY6" fmla="*/ 1225296 h 2157984"/>
                <a:gd name="connsiteX7" fmla="*/ 0 w 1194816"/>
                <a:gd name="connsiteY7" fmla="*/ 2157984 h 2157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94816" h="2157984">
                  <a:moveTo>
                    <a:pt x="0" y="2157984"/>
                  </a:moveTo>
                  <a:lnTo>
                    <a:pt x="1194816" y="2157984"/>
                  </a:lnTo>
                  <a:lnTo>
                    <a:pt x="1194816" y="1097280"/>
                  </a:lnTo>
                  <a:lnTo>
                    <a:pt x="762000" y="1097280"/>
                  </a:lnTo>
                  <a:lnTo>
                    <a:pt x="1103376" y="0"/>
                  </a:lnTo>
                  <a:lnTo>
                    <a:pt x="932688" y="0"/>
                  </a:lnTo>
                  <a:lnTo>
                    <a:pt x="6096" y="1225296"/>
                  </a:lnTo>
                  <a:lnTo>
                    <a:pt x="0" y="2157984"/>
                  </a:lnTo>
                  <a:close/>
                </a:path>
              </a:pathLst>
            </a:custGeom>
            <a:solidFill>
              <a:srgbClr val="76D3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2" name="Freeform 11"/>
            <p:cNvSpPr/>
            <p:nvPr userDrawn="1"/>
          </p:nvSpPr>
          <p:spPr>
            <a:xfrm>
              <a:off x="5023104" y="2450592"/>
              <a:ext cx="1194816" cy="2157984"/>
            </a:xfrm>
            <a:custGeom>
              <a:avLst/>
              <a:gdLst>
                <a:gd name="connsiteX0" fmla="*/ 0 w 1194816"/>
                <a:gd name="connsiteY0" fmla="*/ 2157984 h 2157984"/>
                <a:gd name="connsiteX1" fmla="*/ 1194816 w 1194816"/>
                <a:gd name="connsiteY1" fmla="*/ 2157984 h 2157984"/>
                <a:gd name="connsiteX2" fmla="*/ 1194816 w 1194816"/>
                <a:gd name="connsiteY2" fmla="*/ 1097280 h 2157984"/>
                <a:gd name="connsiteX3" fmla="*/ 762000 w 1194816"/>
                <a:gd name="connsiteY3" fmla="*/ 1097280 h 2157984"/>
                <a:gd name="connsiteX4" fmla="*/ 1103376 w 1194816"/>
                <a:gd name="connsiteY4" fmla="*/ 0 h 2157984"/>
                <a:gd name="connsiteX5" fmla="*/ 932688 w 1194816"/>
                <a:gd name="connsiteY5" fmla="*/ 0 h 2157984"/>
                <a:gd name="connsiteX6" fmla="*/ 6096 w 1194816"/>
                <a:gd name="connsiteY6" fmla="*/ 1225296 h 2157984"/>
                <a:gd name="connsiteX7" fmla="*/ 0 w 1194816"/>
                <a:gd name="connsiteY7" fmla="*/ 2157984 h 2157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94816" h="2157984">
                  <a:moveTo>
                    <a:pt x="0" y="2157984"/>
                  </a:moveTo>
                  <a:lnTo>
                    <a:pt x="1194816" y="2157984"/>
                  </a:lnTo>
                  <a:lnTo>
                    <a:pt x="1194816" y="1097280"/>
                  </a:lnTo>
                  <a:lnTo>
                    <a:pt x="762000" y="1097280"/>
                  </a:lnTo>
                  <a:lnTo>
                    <a:pt x="1103376" y="0"/>
                  </a:lnTo>
                  <a:lnTo>
                    <a:pt x="932688" y="0"/>
                  </a:lnTo>
                  <a:lnTo>
                    <a:pt x="6096" y="1225296"/>
                  </a:lnTo>
                  <a:lnTo>
                    <a:pt x="0" y="2157984"/>
                  </a:lnTo>
                  <a:close/>
                </a:path>
              </a:pathLst>
            </a:custGeom>
            <a:solidFill>
              <a:srgbClr val="76D3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grpSp>
        <p:nvGrpSpPr>
          <p:cNvPr id="13" name="Group 12"/>
          <p:cNvGrpSpPr/>
          <p:nvPr userDrawn="1"/>
        </p:nvGrpSpPr>
        <p:grpSpPr>
          <a:xfrm flipH="1" flipV="1">
            <a:off x="6896365" y="4895446"/>
            <a:ext cx="1017382" cy="857508"/>
            <a:chOff x="3657600" y="2450592"/>
            <a:chExt cx="2560320" cy="2157984"/>
          </a:xfrm>
        </p:grpSpPr>
        <p:sp>
          <p:nvSpPr>
            <p:cNvPr id="14" name="Freeform 13"/>
            <p:cNvSpPr/>
            <p:nvPr userDrawn="1"/>
          </p:nvSpPr>
          <p:spPr>
            <a:xfrm>
              <a:off x="3657600" y="2450592"/>
              <a:ext cx="1194816" cy="2157984"/>
            </a:xfrm>
            <a:custGeom>
              <a:avLst/>
              <a:gdLst>
                <a:gd name="connsiteX0" fmla="*/ 0 w 1194816"/>
                <a:gd name="connsiteY0" fmla="*/ 2157984 h 2157984"/>
                <a:gd name="connsiteX1" fmla="*/ 1194816 w 1194816"/>
                <a:gd name="connsiteY1" fmla="*/ 2157984 h 2157984"/>
                <a:gd name="connsiteX2" fmla="*/ 1194816 w 1194816"/>
                <a:gd name="connsiteY2" fmla="*/ 1097280 h 2157984"/>
                <a:gd name="connsiteX3" fmla="*/ 762000 w 1194816"/>
                <a:gd name="connsiteY3" fmla="*/ 1097280 h 2157984"/>
                <a:gd name="connsiteX4" fmla="*/ 1103376 w 1194816"/>
                <a:gd name="connsiteY4" fmla="*/ 0 h 2157984"/>
                <a:gd name="connsiteX5" fmla="*/ 932688 w 1194816"/>
                <a:gd name="connsiteY5" fmla="*/ 0 h 2157984"/>
                <a:gd name="connsiteX6" fmla="*/ 6096 w 1194816"/>
                <a:gd name="connsiteY6" fmla="*/ 1225296 h 2157984"/>
                <a:gd name="connsiteX7" fmla="*/ 0 w 1194816"/>
                <a:gd name="connsiteY7" fmla="*/ 2157984 h 2157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94816" h="2157984">
                  <a:moveTo>
                    <a:pt x="0" y="2157984"/>
                  </a:moveTo>
                  <a:lnTo>
                    <a:pt x="1194816" y="2157984"/>
                  </a:lnTo>
                  <a:lnTo>
                    <a:pt x="1194816" y="1097280"/>
                  </a:lnTo>
                  <a:lnTo>
                    <a:pt x="762000" y="1097280"/>
                  </a:lnTo>
                  <a:lnTo>
                    <a:pt x="1103376" y="0"/>
                  </a:lnTo>
                  <a:lnTo>
                    <a:pt x="932688" y="0"/>
                  </a:lnTo>
                  <a:lnTo>
                    <a:pt x="6096" y="1225296"/>
                  </a:lnTo>
                  <a:lnTo>
                    <a:pt x="0" y="2157984"/>
                  </a:lnTo>
                  <a:close/>
                </a:path>
              </a:pathLst>
            </a:custGeom>
            <a:solidFill>
              <a:srgbClr val="76D3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5" name="Freeform 14"/>
            <p:cNvSpPr/>
            <p:nvPr userDrawn="1"/>
          </p:nvSpPr>
          <p:spPr>
            <a:xfrm>
              <a:off x="5023104" y="2450592"/>
              <a:ext cx="1194816" cy="2157984"/>
            </a:xfrm>
            <a:custGeom>
              <a:avLst/>
              <a:gdLst>
                <a:gd name="connsiteX0" fmla="*/ 0 w 1194816"/>
                <a:gd name="connsiteY0" fmla="*/ 2157984 h 2157984"/>
                <a:gd name="connsiteX1" fmla="*/ 1194816 w 1194816"/>
                <a:gd name="connsiteY1" fmla="*/ 2157984 h 2157984"/>
                <a:gd name="connsiteX2" fmla="*/ 1194816 w 1194816"/>
                <a:gd name="connsiteY2" fmla="*/ 1097280 h 2157984"/>
                <a:gd name="connsiteX3" fmla="*/ 762000 w 1194816"/>
                <a:gd name="connsiteY3" fmla="*/ 1097280 h 2157984"/>
                <a:gd name="connsiteX4" fmla="*/ 1103376 w 1194816"/>
                <a:gd name="connsiteY4" fmla="*/ 0 h 2157984"/>
                <a:gd name="connsiteX5" fmla="*/ 932688 w 1194816"/>
                <a:gd name="connsiteY5" fmla="*/ 0 h 2157984"/>
                <a:gd name="connsiteX6" fmla="*/ 6096 w 1194816"/>
                <a:gd name="connsiteY6" fmla="*/ 1225296 h 2157984"/>
                <a:gd name="connsiteX7" fmla="*/ 0 w 1194816"/>
                <a:gd name="connsiteY7" fmla="*/ 2157984 h 2157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94816" h="2157984">
                  <a:moveTo>
                    <a:pt x="0" y="2157984"/>
                  </a:moveTo>
                  <a:lnTo>
                    <a:pt x="1194816" y="2157984"/>
                  </a:lnTo>
                  <a:lnTo>
                    <a:pt x="1194816" y="1097280"/>
                  </a:lnTo>
                  <a:lnTo>
                    <a:pt x="762000" y="1097280"/>
                  </a:lnTo>
                  <a:lnTo>
                    <a:pt x="1103376" y="0"/>
                  </a:lnTo>
                  <a:lnTo>
                    <a:pt x="932688" y="0"/>
                  </a:lnTo>
                  <a:lnTo>
                    <a:pt x="6096" y="1225296"/>
                  </a:lnTo>
                  <a:lnTo>
                    <a:pt x="0" y="2157984"/>
                  </a:lnTo>
                  <a:close/>
                </a:path>
              </a:pathLst>
            </a:custGeom>
            <a:solidFill>
              <a:srgbClr val="76D3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91216267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Quote Blue">
    <p:bg>
      <p:bgPr>
        <a:solidFill>
          <a:schemeClr val="tx2"/>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B160A2B-5371-CA41-BD2F-F42585E23A68}"/>
              </a:ext>
            </a:extLst>
          </p:cNvPr>
          <p:cNvGraphicFramePr>
            <a:graphicFrameLocks noChangeAspect="1"/>
          </p:cNvGraphicFramePr>
          <p:nvPr>
            <p:custDataLst>
              <p:tags r:id="rId2"/>
            </p:custDataLst>
            <p:extLst>
              <p:ext uri="{D42A27DB-BD31-4B8C-83A1-F6EECF244321}">
                <p14:modId xmlns:p14="http://schemas.microsoft.com/office/powerpoint/2010/main" val="153922967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6919"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7B160A2B-5371-CA41-BD2F-F42585E23A68}"/>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Text Placeholder 6">
            <a:extLst>
              <a:ext uri="{FF2B5EF4-FFF2-40B4-BE49-F238E27FC236}">
                <a16:creationId xmlns:a16="http://schemas.microsoft.com/office/drawing/2014/main" id="{6F09CC93-7A2B-5149-9FA1-5215EC8FA590}"/>
              </a:ext>
            </a:extLst>
          </p:cNvPr>
          <p:cNvSpPr>
            <a:spLocks noGrp="1"/>
          </p:cNvSpPr>
          <p:nvPr>
            <p:ph type="body" sz="quarter" idx="10" hasCustomPrompt="1"/>
          </p:nvPr>
        </p:nvSpPr>
        <p:spPr>
          <a:xfrm>
            <a:off x="489712" y="1609725"/>
            <a:ext cx="7400925" cy="3255264"/>
          </a:xfrm>
        </p:spPr>
        <p:txBody>
          <a:bodyPr/>
          <a:lstStyle>
            <a:lvl1pPr>
              <a:defRPr sz="5400" b="1">
                <a:solidFill>
                  <a:schemeClr val="bg1"/>
                </a:solidFill>
              </a:defRPr>
            </a:lvl1pPr>
          </a:lstStyle>
          <a:p>
            <a:pPr lvl="0"/>
            <a:r>
              <a:rPr lang="en-US" dirty="0"/>
              <a:t>Click to add quote</a:t>
            </a:r>
          </a:p>
        </p:txBody>
      </p:sp>
      <p:sp>
        <p:nvSpPr>
          <p:cNvPr id="10" name="Text Placeholder 3">
            <a:extLst>
              <a:ext uri="{FF2B5EF4-FFF2-40B4-BE49-F238E27FC236}">
                <a16:creationId xmlns:a16="http://schemas.microsoft.com/office/drawing/2014/main" id="{2C68D909-7F77-144F-A778-CADD0466B483}"/>
              </a:ext>
            </a:extLst>
          </p:cNvPr>
          <p:cNvSpPr>
            <a:spLocks noGrp="1"/>
          </p:cNvSpPr>
          <p:nvPr>
            <p:ph type="body" sz="half" idx="2" hasCustomPrompt="1"/>
          </p:nvPr>
        </p:nvSpPr>
        <p:spPr>
          <a:xfrm>
            <a:off x="485776" y="4979815"/>
            <a:ext cx="3578224" cy="803619"/>
          </a:xfrm>
        </p:spPr>
        <p:txBody>
          <a:bodyPr anchor="t"/>
          <a:lstStyle>
            <a:lvl1pPr marL="179388" indent="-179388">
              <a:lnSpc>
                <a:spcPct val="100000"/>
              </a:lnSpc>
              <a:buFont typeface="System Font Regular"/>
              <a:buChar char="–"/>
              <a:tabLst/>
              <a:defRPr lang="en-US" sz="1600" smtClean="0">
                <a:solidFill>
                  <a:schemeClr val="bg1"/>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r>
              <a:rPr lang="en-US" dirty="0">
                <a:effectLst/>
                <a:latin typeface="Arial" panose="020B0604020202020204" pitchFamily="34" charset="0"/>
              </a:rPr>
              <a:t>Click to add author</a:t>
            </a:r>
          </a:p>
        </p:txBody>
      </p:sp>
      <p:grpSp>
        <p:nvGrpSpPr>
          <p:cNvPr id="11" name="Group 10"/>
          <p:cNvGrpSpPr/>
          <p:nvPr userDrawn="1"/>
        </p:nvGrpSpPr>
        <p:grpSpPr>
          <a:xfrm>
            <a:off x="481775" y="722372"/>
            <a:ext cx="1017382" cy="857508"/>
            <a:chOff x="3657600" y="2450592"/>
            <a:chExt cx="2560320" cy="2157984"/>
          </a:xfrm>
        </p:grpSpPr>
        <p:sp>
          <p:nvSpPr>
            <p:cNvPr id="12" name="Freeform 11"/>
            <p:cNvSpPr/>
            <p:nvPr userDrawn="1"/>
          </p:nvSpPr>
          <p:spPr>
            <a:xfrm>
              <a:off x="3657600" y="2450592"/>
              <a:ext cx="1194816" cy="2157984"/>
            </a:xfrm>
            <a:custGeom>
              <a:avLst/>
              <a:gdLst>
                <a:gd name="connsiteX0" fmla="*/ 0 w 1194816"/>
                <a:gd name="connsiteY0" fmla="*/ 2157984 h 2157984"/>
                <a:gd name="connsiteX1" fmla="*/ 1194816 w 1194816"/>
                <a:gd name="connsiteY1" fmla="*/ 2157984 h 2157984"/>
                <a:gd name="connsiteX2" fmla="*/ 1194816 w 1194816"/>
                <a:gd name="connsiteY2" fmla="*/ 1097280 h 2157984"/>
                <a:gd name="connsiteX3" fmla="*/ 762000 w 1194816"/>
                <a:gd name="connsiteY3" fmla="*/ 1097280 h 2157984"/>
                <a:gd name="connsiteX4" fmla="*/ 1103376 w 1194816"/>
                <a:gd name="connsiteY4" fmla="*/ 0 h 2157984"/>
                <a:gd name="connsiteX5" fmla="*/ 932688 w 1194816"/>
                <a:gd name="connsiteY5" fmla="*/ 0 h 2157984"/>
                <a:gd name="connsiteX6" fmla="*/ 6096 w 1194816"/>
                <a:gd name="connsiteY6" fmla="*/ 1225296 h 2157984"/>
                <a:gd name="connsiteX7" fmla="*/ 0 w 1194816"/>
                <a:gd name="connsiteY7" fmla="*/ 2157984 h 2157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94816" h="2157984">
                  <a:moveTo>
                    <a:pt x="0" y="2157984"/>
                  </a:moveTo>
                  <a:lnTo>
                    <a:pt x="1194816" y="2157984"/>
                  </a:lnTo>
                  <a:lnTo>
                    <a:pt x="1194816" y="1097280"/>
                  </a:lnTo>
                  <a:lnTo>
                    <a:pt x="762000" y="1097280"/>
                  </a:lnTo>
                  <a:lnTo>
                    <a:pt x="1103376" y="0"/>
                  </a:lnTo>
                  <a:lnTo>
                    <a:pt x="932688" y="0"/>
                  </a:lnTo>
                  <a:lnTo>
                    <a:pt x="6096" y="1225296"/>
                  </a:lnTo>
                  <a:lnTo>
                    <a:pt x="0" y="2157984"/>
                  </a:lnTo>
                  <a:close/>
                </a:path>
              </a:pathLst>
            </a:custGeom>
            <a:solidFill>
              <a:srgbClr val="76D3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3" name="Freeform 12"/>
            <p:cNvSpPr/>
            <p:nvPr userDrawn="1"/>
          </p:nvSpPr>
          <p:spPr>
            <a:xfrm>
              <a:off x="5023104" y="2450592"/>
              <a:ext cx="1194816" cy="2157984"/>
            </a:xfrm>
            <a:custGeom>
              <a:avLst/>
              <a:gdLst>
                <a:gd name="connsiteX0" fmla="*/ 0 w 1194816"/>
                <a:gd name="connsiteY0" fmla="*/ 2157984 h 2157984"/>
                <a:gd name="connsiteX1" fmla="*/ 1194816 w 1194816"/>
                <a:gd name="connsiteY1" fmla="*/ 2157984 h 2157984"/>
                <a:gd name="connsiteX2" fmla="*/ 1194816 w 1194816"/>
                <a:gd name="connsiteY2" fmla="*/ 1097280 h 2157984"/>
                <a:gd name="connsiteX3" fmla="*/ 762000 w 1194816"/>
                <a:gd name="connsiteY3" fmla="*/ 1097280 h 2157984"/>
                <a:gd name="connsiteX4" fmla="*/ 1103376 w 1194816"/>
                <a:gd name="connsiteY4" fmla="*/ 0 h 2157984"/>
                <a:gd name="connsiteX5" fmla="*/ 932688 w 1194816"/>
                <a:gd name="connsiteY5" fmla="*/ 0 h 2157984"/>
                <a:gd name="connsiteX6" fmla="*/ 6096 w 1194816"/>
                <a:gd name="connsiteY6" fmla="*/ 1225296 h 2157984"/>
                <a:gd name="connsiteX7" fmla="*/ 0 w 1194816"/>
                <a:gd name="connsiteY7" fmla="*/ 2157984 h 2157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94816" h="2157984">
                  <a:moveTo>
                    <a:pt x="0" y="2157984"/>
                  </a:moveTo>
                  <a:lnTo>
                    <a:pt x="1194816" y="2157984"/>
                  </a:lnTo>
                  <a:lnTo>
                    <a:pt x="1194816" y="1097280"/>
                  </a:lnTo>
                  <a:lnTo>
                    <a:pt x="762000" y="1097280"/>
                  </a:lnTo>
                  <a:lnTo>
                    <a:pt x="1103376" y="0"/>
                  </a:lnTo>
                  <a:lnTo>
                    <a:pt x="932688" y="0"/>
                  </a:lnTo>
                  <a:lnTo>
                    <a:pt x="6096" y="1225296"/>
                  </a:lnTo>
                  <a:lnTo>
                    <a:pt x="0" y="2157984"/>
                  </a:lnTo>
                  <a:close/>
                </a:path>
              </a:pathLst>
            </a:custGeom>
            <a:solidFill>
              <a:srgbClr val="76D3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grpSp>
        <p:nvGrpSpPr>
          <p:cNvPr id="14" name="Group 13"/>
          <p:cNvGrpSpPr/>
          <p:nvPr userDrawn="1"/>
        </p:nvGrpSpPr>
        <p:grpSpPr>
          <a:xfrm flipH="1" flipV="1">
            <a:off x="6896365" y="4895446"/>
            <a:ext cx="1017382" cy="857508"/>
            <a:chOff x="3657600" y="2450592"/>
            <a:chExt cx="2560320" cy="2157984"/>
          </a:xfrm>
        </p:grpSpPr>
        <p:sp>
          <p:nvSpPr>
            <p:cNvPr id="15" name="Freeform 14"/>
            <p:cNvSpPr/>
            <p:nvPr userDrawn="1"/>
          </p:nvSpPr>
          <p:spPr>
            <a:xfrm>
              <a:off x="3657600" y="2450592"/>
              <a:ext cx="1194816" cy="2157984"/>
            </a:xfrm>
            <a:custGeom>
              <a:avLst/>
              <a:gdLst>
                <a:gd name="connsiteX0" fmla="*/ 0 w 1194816"/>
                <a:gd name="connsiteY0" fmla="*/ 2157984 h 2157984"/>
                <a:gd name="connsiteX1" fmla="*/ 1194816 w 1194816"/>
                <a:gd name="connsiteY1" fmla="*/ 2157984 h 2157984"/>
                <a:gd name="connsiteX2" fmla="*/ 1194816 w 1194816"/>
                <a:gd name="connsiteY2" fmla="*/ 1097280 h 2157984"/>
                <a:gd name="connsiteX3" fmla="*/ 762000 w 1194816"/>
                <a:gd name="connsiteY3" fmla="*/ 1097280 h 2157984"/>
                <a:gd name="connsiteX4" fmla="*/ 1103376 w 1194816"/>
                <a:gd name="connsiteY4" fmla="*/ 0 h 2157984"/>
                <a:gd name="connsiteX5" fmla="*/ 932688 w 1194816"/>
                <a:gd name="connsiteY5" fmla="*/ 0 h 2157984"/>
                <a:gd name="connsiteX6" fmla="*/ 6096 w 1194816"/>
                <a:gd name="connsiteY6" fmla="*/ 1225296 h 2157984"/>
                <a:gd name="connsiteX7" fmla="*/ 0 w 1194816"/>
                <a:gd name="connsiteY7" fmla="*/ 2157984 h 2157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94816" h="2157984">
                  <a:moveTo>
                    <a:pt x="0" y="2157984"/>
                  </a:moveTo>
                  <a:lnTo>
                    <a:pt x="1194816" y="2157984"/>
                  </a:lnTo>
                  <a:lnTo>
                    <a:pt x="1194816" y="1097280"/>
                  </a:lnTo>
                  <a:lnTo>
                    <a:pt x="762000" y="1097280"/>
                  </a:lnTo>
                  <a:lnTo>
                    <a:pt x="1103376" y="0"/>
                  </a:lnTo>
                  <a:lnTo>
                    <a:pt x="932688" y="0"/>
                  </a:lnTo>
                  <a:lnTo>
                    <a:pt x="6096" y="1225296"/>
                  </a:lnTo>
                  <a:lnTo>
                    <a:pt x="0" y="2157984"/>
                  </a:lnTo>
                  <a:close/>
                </a:path>
              </a:pathLst>
            </a:custGeom>
            <a:solidFill>
              <a:srgbClr val="76D3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6" name="Freeform 15"/>
            <p:cNvSpPr/>
            <p:nvPr userDrawn="1"/>
          </p:nvSpPr>
          <p:spPr>
            <a:xfrm>
              <a:off x="5023104" y="2450592"/>
              <a:ext cx="1194816" cy="2157984"/>
            </a:xfrm>
            <a:custGeom>
              <a:avLst/>
              <a:gdLst>
                <a:gd name="connsiteX0" fmla="*/ 0 w 1194816"/>
                <a:gd name="connsiteY0" fmla="*/ 2157984 h 2157984"/>
                <a:gd name="connsiteX1" fmla="*/ 1194816 w 1194816"/>
                <a:gd name="connsiteY1" fmla="*/ 2157984 h 2157984"/>
                <a:gd name="connsiteX2" fmla="*/ 1194816 w 1194816"/>
                <a:gd name="connsiteY2" fmla="*/ 1097280 h 2157984"/>
                <a:gd name="connsiteX3" fmla="*/ 762000 w 1194816"/>
                <a:gd name="connsiteY3" fmla="*/ 1097280 h 2157984"/>
                <a:gd name="connsiteX4" fmla="*/ 1103376 w 1194816"/>
                <a:gd name="connsiteY4" fmla="*/ 0 h 2157984"/>
                <a:gd name="connsiteX5" fmla="*/ 932688 w 1194816"/>
                <a:gd name="connsiteY5" fmla="*/ 0 h 2157984"/>
                <a:gd name="connsiteX6" fmla="*/ 6096 w 1194816"/>
                <a:gd name="connsiteY6" fmla="*/ 1225296 h 2157984"/>
                <a:gd name="connsiteX7" fmla="*/ 0 w 1194816"/>
                <a:gd name="connsiteY7" fmla="*/ 2157984 h 2157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94816" h="2157984">
                  <a:moveTo>
                    <a:pt x="0" y="2157984"/>
                  </a:moveTo>
                  <a:lnTo>
                    <a:pt x="1194816" y="2157984"/>
                  </a:lnTo>
                  <a:lnTo>
                    <a:pt x="1194816" y="1097280"/>
                  </a:lnTo>
                  <a:lnTo>
                    <a:pt x="762000" y="1097280"/>
                  </a:lnTo>
                  <a:lnTo>
                    <a:pt x="1103376" y="0"/>
                  </a:lnTo>
                  <a:lnTo>
                    <a:pt x="932688" y="0"/>
                  </a:lnTo>
                  <a:lnTo>
                    <a:pt x="6096" y="1225296"/>
                  </a:lnTo>
                  <a:lnTo>
                    <a:pt x="0" y="2157984"/>
                  </a:lnTo>
                  <a:close/>
                </a:path>
              </a:pathLst>
            </a:custGeom>
            <a:solidFill>
              <a:srgbClr val="76D3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
        <p:nvSpPr>
          <p:cNvPr id="18" name="TextBox 17">
            <a:extLst>
              <a:ext uri="{FF2B5EF4-FFF2-40B4-BE49-F238E27FC236}">
                <a16:creationId xmlns:a16="http://schemas.microsoft.com/office/drawing/2014/main" id="{9A6A4D16-2CB5-DA4B-9931-20D3477C5477}"/>
              </a:ext>
            </a:extLst>
          </p:cNvPr>
          <p:cNvSpPr txBox="1"/>
          <p:nvPr userDrawn="1"/>
        </p:nvSpPr>
        <p:spPr>
          <a:xfrm>
            <a:off x="11430000" y="6516007"/>
            <a:ext cx="279400" cy="123111"/>
          </a:xfrm>
          <a:prstGeom prst="rect">
            <a:avLst/>
          </a:prstGeom>
          <a:noFill/>
        </p:spPr>
        <p:txBody>
          <a:bodyPr wrap="squar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B2884B6-D4BF-C444-8DD3-A349AF38F97C}" type="slidenum">
              <a:rPr lang="en-US" sz="800" kern="1200" smtClean="0">
                <a:solidFill>
                  <a:schemeClr val="bg1"/>
                </a:solidFill>
                <a:effectLst/>
                <a:latin typeface="+mn-lt"/>
                <a:ea typeface="+mn-ea"/>
                <a:cs typeface="+mn-cs"/>
              </a:rPr>
              <a:t>‹#›</a:t>
            </a:fld>
            <a:endParaRPr lang="en-US" sz="800" kern="1200" dirty="0">
              <a:solidFill>
                <a:schemeClr val="bg1"/>
              </a:solidFill>
              <a:effectLst/>
              <a:latin typeface="+mn-lt"/>
              <a:ea typeface="+mn-ea"/>
              <a:cs typeface="+mn-cs"/>
            </a:endParaRPr>
          </a:p>
        </p:txBody>
      </p:sp>
    </p:spTree>
    <p:extLst>
      <p:ext uri="{BB962C8B-B14F-4D97-AF65-F5344CB8AC3E}">
        <p14:creationId xmlns:p14="http://schemas.microsoft.com/office/powerpoint/2010/main" val="38973962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Quote Gradient">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B160A2B-5371-CA41-BD2F-F42585E23A68}"/>
              </a:ext>
            </a:extLst>
          </p:cNvPr>
          <p:cNvGraphicFramePr>
            <a:graphicFrameLocks noChangeAspect="1"/>
          </p:cNvGraphicFramePr>
          <p:nvPr>
            <p:custDataLst>
              <p:tags r:id="rId2"/>
            </p:custDataLst>
            <p:extLst>
              <p:ext uri="{D42A27DB-BD31-4B8C-83A1-F6EECF244321}">
                <p14:modId xmlns:p14="http://schemas.microsoft.com/office/powerpoint/2010/main" val="352717095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8648" name="think-cell Slide" r:id="rId5" imgW="7772400" imgH="10058400" progId="TCLayout.ActiveDocument.1">
                  <p:embed/>
                </p:oleObj>
              </mc:Choice>
              <mc:Fallback>
                <p:oleObj name="think-cell Slide" r:id="rId5" imgW="7772400" imgH="10058400" progId="TCLayout.ActiveDocument.1">
                  <p:embed/>
                  <p:pic>
                    <p:nvPicPr>
                      <p:cNvPr id="5" name="Object 4" hidden="1">
                        <a:extLst>
                          <a:ext uri="{FF2B5EF4-FFF2-40B4-BE49-F238E27FC236}">
                            <a16:creationId xmlns:a16="http://schemas.microsoft.com/office/drawing/2014/main" id="{7B160A2B-5371-CA41-BD2F-F42585E23A6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6" name="Text Placeholder 6">
            <a:extLst>
              <a:ext uri="{FF2B5EF4-FFF2-40B4-BE49-F238E27FC236}">
                <a16:creationId xmlns:a16="http://schemas.microsoft.com/office/drawing/2014/main" id="{6F09CC93-7A2B-5149-9FA1-5215EC8FA590}"/>
              </a:ext>
            </a:extLst>
          </p:cNvPr>
          <p:cNvSpPr>
            <a:spLocks noGrp="1"/>
          </p:cNvSpPr>
          <p:nvPr>
            <p:ph type="body" sz="quarter" idx="10" hasCustomPrompt="1"/>
          </p:nvPr>
        </p:nvSpPr>
        <p:spPr>
          <a:xfrm>
            <a:off x="489712" y="1609725"/>
            <a:ext cx="7400925" cy="3255264"/>
          </a:xfrm>
        </p:spPr>
        <p:txBody>
          <a:bodyPr/>
          <a:lstStyle>
            <a:lvl1pPr>
              <a:defRPr sz="5400" b="1">
                <a:solidFill>
                  <a:schemeClr val="bg1"/>
                </a:solidFill>
              </a:defRPr>
            </a:lvl1pPr>
          </a:lstStyle>
          <a:p>
            <a:pPr lvl="0"/>
            <a:r>
              <a:rPr lang="en-US" dirty="0"/>
              <a:t>Click to add quote</a:t>
            </a:r>
          </a:p>
        </p:txBody>
      </p:sp>
      <p:sp>
        <p:nvSpPr>
          <p:cNvPr id="10" name="Text Placeholder 3">
            <a:extLst>
              <a:ext uri="{FF2B5EF4-FFF2-40B4-BE49-F238E27FC236}">
                <a16:creationId xmlns:a16="http://schemas.microsoft.com/office/drawing/2014/main" id="{2C68D909-7F77-144F-A778-CADD0466B483}"/>
              </a:ext>
            </a:extLst>
          </p:cNvPr>
          <p:cNvSpPr>
            <a:spLocks noGrp="1"/>
          </p:cNvSpPr>
          <p:nvPr>
            <p:ph type="body" sz="half" idx="2" hasCustomPrompt="1"/>
          </p:nvPr>
        </p:nvSpPr>
        <p:spPr>
          <a:xfrm>
            <a:off x="485776" y="4979815"/>
            <a:ext cx="3578224" cy="803619"/>
          </a:xfrm>
        </p:spPr>
        <p:txBody>
          <a:bodyPr anchor="t"/>
          <a:lstStyle>
            <a:lvl1pPr marL="179388" indent="-179388">
              <a:lnSpc>
                <a:spcPct val="100000"/>
              </a:lnSpc>
              <a:buFont typeface="System Font Regular"/>
              <a:buChar char="–"/>
              <a:tabLst/>
              <a:defRPr lang="en-US" sz="1600" smtClean="0">
                <a:solidFill>
                  <a:schemeClr val="bg1"/>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r>
              <a:rPr lang="en-US" dirty="0">
                <a:effectLst/>
                <a:latin typeface="Arial" panose="020B0604020202020204" pitchFamily="34" charset="0"/>
              </a:rPr>
              <a:t>Click to add author</a:t>
            </a:r>
          </a:p>
        </p:txBody>
      </p:sp>
      <p:grpSp>
        <p:nvGrpSpPr>
          <p:cNvPr id="11" name="Group 10"/>
          <p:cNvGrpSpPr/>
          <p:nvPr userDrawn="1"/>
        </p:nvGrpSpPr>
        <p:grpSpPr>
          <a:xfrm>
            <a:off x="481775" y="722372"/>
            <a:ext cx="1017382" cy="857508"/>
            <a:chOff x="3657600" y="2450592"/>
            <a:chExt cx="2560320" cy="2157984"/>
          </a:xfrm>
        </p:grpSpPr>
        <p:sp>
          <p:nvSpPr>
            <p:cNvPr id="12" name="Freeform 11"/>
            <p:cNvSpPr/>
            <p:nvPr userDrawn="1"/>
          </p:nvSpPr>
          <p:spPr>
            <a:xfrm>
              <a:off x="3657600" y="2450592"/>
              <a:ext cx="1194816" cy="2157984"/>
            </a:xfrm>
            <a:custGeom>
              <a:avLst/>
              <a:gdLst>
                <a:gd name="connsiteX0" fmla="*/ 0 w 1194816"/>
                <a:gd name="connsiteY0" fmla="*/ 2157984 h 2157984"/>
                <a:gd name="connsiteX1" fmla="*/ 1194816 w 1194816"/>
                <a:gd name="connsiteY1" fmla="*/ 2157984 h 2157984"/>
                <a:gd name="connsiteX2" fmla="*/ 1194816 w 1194816"/>
                <a:gd name="connsiteY2" fmla="*/ 1097280 h 2157984"/>
                <a:gd name="connsiteX3" fmla="*/ 762000 w 1194816"/>
                <a:gd name="connsiteY3" fmla="*/ 1097280 h 2157984"/>
                <a:gd name="connsiteX4" fmla="*/ 1103376 w 1194816"/>
                <a:gd name="connsiteY4" fmla="*/ 0 h 2157984"/>
                <a:gd name="connsiteX5" fmla="*/ 932688 w 1194816"/>
                <a:gd name="connsiteY5" fmla="*/ 0 h 2157984"/>
                <a:gd name="connsiteX6" fmla="*/ 6096 w 1194816"/>
                <a:gd name="connsiteY6" fmla="*/ 1225296 h 2157984"/>
                <a:gd name="connsiteX7" fmla="*/ 0 w 1194816"/>
                <a:gd name="connsiteY7" fmla="*/ 2157984 h 2157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94816" h="2157984">
                  <a:moveTo>
                    <a:pt x="0" y="2157984"/>
                  </a:moveTo>
                  <a:lnTo>
                    <a:pt x="1194816" y="2157984"/>
                  </a:lnTo>
                  <a:lnTo>
                    <a:pt x="1194816" y="1097280"/>
                  </a:lnTo>
                  <a:lnTo>
                    <a:pt x="762000" y="1097280"/>
                  </a:lnTo>
                  <a:lnTo>
                    <a:pt x="1103376" y="0"/>
                  </a:lnTo>
                  <a:lnTo>
                    <a:pt x="932688" y="0"/>
                  </a:lnTo>
                  <a:lnTo>
                    <a:pt x="6096" y="1225296"/>
                  </a:lnTo>
                  <a:lnTo>
                    <a:pt x="0" y="2157984"/>
                  </a:lnTo>
                  <a:close/>
                </a:path>
              </a:pathLst>
            </a:custGeom>
            <a:solidFill>
              <a:srgbClr val="76D3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3" name="Freeform 12"/>
            <p:cNvSpPr/>
            <p:nvPr userDrawn="1"/>
          </p:nvSpPr>
          <p:spPr>
            <a:xfrm>
              <a:off x="5023104" y="2450592"/>
              <a:ext cx="1194816" cy="2157984"/>
            </a:xfrm>
            <a:custGeom>
              <a:avLst/>
              <a:gdLst>
                <a:gd name="connsiteX0" fmla="*/ 0 w 1194816"/>
                <a:gd name="connsiteY0" fmla="*/ 2157984 h 2157984"/>
                <a:gd name="connsiteX1" fmla="*/ 1194816 w 1194816"/>
                <a:gd name="connsiteY1" fmla="*/ 2157984 h 2157984"/>
                <a:gd name="connsiteX2" fmla="*/ 1194816 w 1194816"/>
                <a:gd name="connsiteY2" fmla="*/ 1097280 h 2157984"/>
                <a:gd name="connsiteX3" fmla="*/ 762000 w 1194816"/>
                <a:gd name="connsiteY3" fmla="*/ 1097280 h 2157984"/>
                <a:gd name="connsiteX4" fmla="*/ 1103376 w 1194816"/>
                <a:gd name="connsiteY4" fmla="*/ 0 h 2157984"/>
                <a:gd name="connsiteX5" fmla="*/ 932688 w 1194816"/>
                <a:gd name="connsiteY5" fmla="*/ 0 h 2157984"/>
                <a:gd name="connsiteX6" fmla="*/ 6096 w 1194816"/>
                <a:gd name="connsiteY6" fmla="*/ 1225296 h 2157984"/>
                <a:gd name="connsiteX7" fmla="*/ 0 w 1194816"/>
                <a:gd name="connsiteY7" fmla="*/ 2157984 h 2157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94816" h="2157984">
                  <a:moveTo>
                    <a:pt x="0" y="2157984"/>
                  </a:moveTo>
                  <a:lnTo>
                    <a:pt x="1194816" y="2157984"/>
                  </a:lnTo>
                  <a:lnTo>
                    <a:pt x="1194816" y="1097280"/>
                  </a:lnTo>
                  <a:lnTo>
                    <a:pt x="762000" y="1097280"/>
                  </a:lnTo>
                  <a:lnTo>
                    <a:pt x="1103376" y="0"/>
                  </a:lnTo>
                  <a:lnTo>
                    <a:pt x="932688" y="0"/>
                  </a:lnTo>
                  <a:lnTo>
                    <a:pt x="6096" y="1225296"/>
                  </a:lnTo>
                  <a:lnTo>
                    <a:pt x="0" y="2157984"/>
                  </a:lnTo>
                  <a:close/>
                </a:path>
              </a:pathLst>
            </a:custGeom>
            <a:solidFill>
              <a:srgbClr val="76D3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grpSp>
        <p:nvGrpSpPr>
          <p:cNvPr id="14" name="Group 13"/>
          <p:cNvGrpSpPr/>
          <p:nvPr userDrawn="1"/>
        </p:nvGrpSpPr>
        <p:grpSpPr>
          <a:xfrm flipH="1" flipV="1">
            <a:off x="6896365" y="4895446"/>
            <a:ext cx="1017382" cy="857508"/>
            <a:chOff x="3657600" y="2450592"/>
            <a:chExt cx="2560320" cy="2157984"/>
          </a:xfrm>
        </p:grpSpPr>
        <p:sp>
          <p:nvSpPr>
            <p:cNvPr id="15" name="Freeform 14"/>
            <p:cNvSpPr/>
            <p:nvPr userDrawn="1"/>
          </p:nvSpPr>
          <p:spPr>
            <a:xfrm>
              <a:off x="3657600" y="2450592"/>
              <a:ext cx="1194816" cy="2157984"/>
            </a:xfrm>
            <a:custGeom>
              <a:avLst/>
              <a:gdLst>
                <a:gd name="connsiteX0" fmla="*/ 0 w 1194816"/>
                <a:gd name="connsiteY0" fmla="*/ 2157984 h 2157984"/>
                <a:gd name="connsiteX1" fmla="*/ 1194816 w 1194816"/>
                <a:gd name="connsiteY1" fmla="*/ 2157984 h 2157984"/>
                <a:gd name="connsiteX2" fmla="*/ 1194816 w 1194816"/>
                <a:gd name="connsiteY2" fmla="*/ 1097280 h 2157984"/>
                <a:gd name="connsiteX3" fmla="*/ 762000 w 1194816"/>
                <a:gd name="connsiteY3" fmla="*/ 1097280 h 2157984"/>
                <a:gd name="connsiteX4" fmla="*/ 1103376 w 1194816"/>
                <a:gd name="connsiteY4" fmla="*/ 0 h 2157984"/>
                <a:gd name="connsiteX5" fmla="*/ 932688 w 1194816"/>
                <a:gd name="connsiteY5" fmla="*/ 0 h 2157984"/>
                <a:gd name="connsiteX6" fmla="*/ 6096 w 1194816"/>
                <a:gd name="connsiteY6" fmla="*/ 1225296 h 2157984"/>
                <a:gd name="connsiteX7" fmla="*/ 0 w 1194816"/>
                <a:gd name="connsiteY7" fmla="*/ 2157984 h 2157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94816" h="2157984">
                  <a:moveTo>
                    <a:pt x="0" y="2157984"/>
                  </a:moveTo>
                  <a:lnTo>
                    <a:pt x="1194816" y="2157984"/>
                  </a:lnTo>
                  <a:lnTo>
                    <a:pt x="1194816" y="1097280"/>
                  </a:lnTo>
                  <a:lnTo>
                    <a:pt x="762000" y="1097280"/>
                  </a:lnTo>
                  <a:lnTo>
                    <a:pt x="1103376" y="0"/>
                  </a:lnTo>
                  <a:lnTo>
                    <a:pt x="932688" y="0"/>
                  </a:lnTo>
                  <a:lnTo>
                    <a:pt x="6096" y="1225296"/>
                  </a:lnTo>
                  <a:lnTo>
                    <a:pt x="0" y="2157984"/>
                  </a:lnTo>
                  <a:close/>
                </a:path>
              </a:pathLst>
            </a:custGeom>
            <a:solidFill>
              <a:srgbClr val="76D3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6" name="Freeform 15"/>
            <p:cNvSpPr/>
            <p:nvPr userDrawn="1"/>
          </p:nvSpPr>
          <p:spPr>
            <a:xfrm>
              <a:off x="5023104" y="2450592"/>
              <a:ext cx="1194816" cy="2157984"/>
            </a:xfrm>
            <a:custGeom>
              <a:avLst/>
              <a:gdLst>
                <a:gd name="connsiteX0" fmla="*/ 0 w 1194816"/>
                <a:gd name="connsiteY0" fmla="*/ 2157984 h 2157984"/>
                <a:gd name="connsiteX1" fmla="*/ 1194816 w 1194816"/>
                <a:gd name="connsiteY1" fmla="*/ 2157984 h 2157984"/>
                <a:gd name="connsiteX2" fmla="*/ 1194816 w 1194816"/>
                <a:gd name="connsiteY2" fmla="*/ 1097280 h 2157984"/>
                <a:gd name="connsiteX3" fmla="*/ 762000 w 1194816"/>
                <a:gd name="connsiteY3" fmla="*/ 1097280 h 2157984"/>
                <a:gd name="connsiteX4" fmla="*/ 1103376 w 1194816"/>
                <a:gd name="connsiteY4" fmla="*/ 0 h 2157984"/>
                <a:gd name="connsiteX5" fmla="*/ 932688 w 1194816"/>
                <a:gd name="connsiteY5" fmla="*/ 0 h 2157984"/>
                <a:gd name="connsiteX6" fmla="*/ 6096 w 1194816"/>
                <a:gd name="connsiteY6" fmla="*/ 1225296 h 2157984"/>
                <a:gd name="connsiteX7" fmla="*/ 0 w 1194816"/>
                <a:gd name="connsiteY7" fmla="*/ 2157984 h 2157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94816" h="2157984">
                  <a:moveTo>
                    <a:pt x="0" y="2157984"/>
                  </a:moveTo>
                  <a:lnTo>
                    <a:pt x="1194816" y="2157984"/>
                  </a:lnTo>
                  <a:lnTo>
                    <a:pt x="1194816" y="1097280"/>
                  </a:lnTo>
                  <a:lnTo>
                    <a:pt x="762000" y="1097280"/>
                  </a:lnTo>
                  <a:lnTo>
                    <a:pt x="1103376" y="0"/>
                  </a:lnTo>
                  <a:lnTo>
                    <a:pt x="932688" y="0"/>
                  </a:lnTo>
                  <a:lnTo>
                    <a:pt x="6096" y="1225296"/>
                  </a:lnTo>
                  <a:lnTo>
                    <a:pt x="0" y="2157984"/>
                  </a:lnTo>
                  <a:close/>
                </a:path>
              </a:pathLst>
            </a:custGeom>
            <a:solidFill>
              <a:srgbClr val="76D3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
        <p:nvSpPr>
          <p:cNvPr id="17" name="TextBox 16">
            <a:extLst>
              <a:ext uri="{FF2B5EF4-FFF2-40B4-BE49-F238E27FC236}">
                <a16:creationId xmlns:a16="http://schemas.microsoft.com/office/drawing/2014/main" id="{9A6A4D16-2CB5-DA4B-9931-20D3477C5477}"/>
              </a:ext>
            </a:extLst>
          </p:cNvPr>
          <p:cNvSpPr txBox="1"/>
          <p:nvPr userDrawn="1"/>
        </p:nvSpPr>
        <p:spPr>
          <a:xfrm>
            <a:off x="11430000" y="6516007"/>
            <a:ext cx="279400" cy="123111"/>
          </a:xfrm>
          <a:prstGeom prst="rect">
            <a:avLst/>
          </a:prstGeom>
          <a:noFill/>
        </p:spPr>
        <p:txBody>
          <a:bodyPr wrap="squar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B2884B6-D4BF-C444-8DD3-A349AF38F97C}" type="slidenum">
              <a:rPr lang="en-US" sz="800" kern="1200" smtClean="0">
                <a:solidFill>
                  <a:schemeClr val="bg1"/>
                </a:solidFill>
                <a:effectLst/>
                <a:latin typeface="+mn-lt"/>
                <a:ea typeface="+mn-ea"/>
                <a:cs typeface="+mn-cs"/>
              </a:rPr>
              <a:t>‹#›</a:t>
            </a:fld>
            <a:endParaRPr lang="en-US" sz="800" kern="1200" dirty="0">
              <a:solidFill>
                <a:schemeClr val="bg1"/>
              </a:solidFill>
              <a:effectLst/>
              <a:latin typeface="+mn-lt"/>
              <a:ea typeface="+mn-ea"/>
              <a:cs typeface="+mn-cs"/>
            </a:endParaRPr>
          </a:p>
        </p:txBody>
      </p:sp>
    </p:spTree>
    <p:extLst>
      <p:ext uri="{BB962C8B-B14F-4D97-AF65-F5344CB8AC3E}">
        <p14:creationId xmlns:p14="http://schemas.microsoft.com/office/powerpoint/2010/main" val="4854747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AGENDA+DIVIDERS">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3D1D590-820D-DB4B-B4DE-E39929241090}"/>
              </a:ext>
            </a:extLst>
          </p:cNvPr>
          <p:cNvGraphicFramePr>
            <a:graphicFrameLocks noChangeAspect="1"/>
          </p:cNvGraphicFramePr>
          <p:nvPr>
            <p:custDataLst>
              <p:tags r:id="rId2"/>
            </p:custDataLst>
            <p:extLst>
              <p:ext uri="{D42A27DB-BD31-4B8C-83A1-F6EECF244321}">
                <p14:modId xmlns:p14="http://schemas.microsoft.com/office/powerpoint/2010/main" val="9489628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7943"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B3D1D590-820D-DB4B-B4DE-E39929241090}"/>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5064E14D-7EB8-984D-B09A-CDFF8DFEAAB9}"/>
              </a:ext>
            </a:extLst>
          </p:cNvPr>
          <p:cNvSpPr txBox="1"/>
          <p:nvPr/>
        </p:nvSpPr>
        <p:spPr>
          <a:xfrm>
            <a:off x="374977" y="1582341"/>
            <a:ext cx="6515245" cy="3693319"/>
          </a:xfrm>
          <a:prstGeom prst="rect">
            <a:avLst/>
          </a:prstGeom>
          <a:noFill/>
        </p:spPr>
        <p:txBody>
          <a:bodyPr wrap="none" lIns="0" tIns="0" rIns="0" bIns="0" rtlCol="0" anchor="ctr">
            <a:spAutoFit/>
          </a:bodyPr>
          <a:lstStyle/>
          <a:p>
            <a:pPr algn="l"/>
            <a:r>
              <a:rPr lang="en-US" sz="12000" b="1" i="0" dirty="0">
                <a:solidFill>
                  <a:schemeClr val="bg1"/>
                </a:solidFill>
                <a:latin typeface="Arial Narrow" panose="020B0604020202020204" pitchFamily="34" charset="0"/>
                <a:cs typeface="Arial Narrow" panose="020B0604020202020204" pitchFamily="34" charset="0"/>
              </a:rPr>
              <a:t>AGENDA +</a:t>
            </a:r>
          </a:p>
          <a:p>
            <a:pPr algn="l"/>
            <a:r>
              <a:rPr lang="en-US" sz="12000" b="1" i="0" dirty="0">
                <a:solidFill>
                  <a:schemeClr val="bg1"/>
                </a:solidFill>
                <a:latin typeface="Arial Narrow" panose="020B0604020202020204" pitchFamily="34" charset="0"/>
                <a:cs typeface="Arial Narrow" panose="020B0604020202020204" pitchFamily="34" charset="0"/>
              </a:rPr>
              <a:t>DIVIDERS</a:t>
            </a:r>
          </a:p>
        </p:txBody>
      </p:sp>
    </p:spTree>
    <p:extLst>
      <p:ext uri="{BB962C8B-B14F-4D97-AF65-F5344CB8AC3E}">
        <p14:creationId xmlns:p14="http://schemas.microsoft.com/office/powerpoint/2010/main" val="156372418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Agenda">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5AFEB67-91FA-AF46-907B-E0F184EFDDD9}"/>
              </a:ext>
            </a:extLst>
          </p:cNvPr>
          <p:cNvGraphicFramePr>
            <a:graphicFrameLocks noChangeAspect="1"/>
          </p:cNvGraphicFramePr>
          <p:nvPr>
            <p:custDataLst>
              <p:tags r:id="rId2"/>
            </p:custDataLst>
            <p:extLst>
              <p:ext uri="{D42A27DB-BD31-4B8C-83A1-F6EECF244321}">
                <p14:modId xmlns:p14="http://schemas.microsoft.com/office/powerpoint/2010/main" val="292524163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8967"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15AFEB67-91FA-AF46-907B-E0F184EFDDD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ext Placeholder 3">
            <a:extLst>
              <a:ext uri="{FF2B5EF4-FFF2-40B4-BE49-F238E27FC236}">
                <a16:creationId xmlns:a16="http://schemas.microsoft.com/office/drawing/2014/main" id="{0A192DE0-80AD-0F4F-926B-A532DCA048C7}"/>
              </a:ext>
            </a:extLst>
          </p:cNvPr>
          <p:cNvSpPr>
            <a:spLocks noGrp="1"/>
          </p:cNvSpPr>
          <p:nvPr>
            <p:ph type="body" sz="half" idx="17" hasCustomPrompt="1"/>
          </p:nvPr>
        </p:nvSpPr>
        <p:spPr>
          <a:xfrm>
            <a:off x="5257801" y="4901184"/>
            <a:ext cx="6451599" cy="1846659"/>
          </a:xfrm>
          <a:noFill/>
        </p:spPr>
        <p:txBody>
          <a:bodyPr wrap="square" lIns="0" tIns="0" rIns="0" bIns="0" rtlCol="0">
            <a:spAutoFit/>
          </a:bodyPr>
          <a:lstStyle>
            <a:lvl1pPr marL="0" indent="0" algn="r">
              <a:buNone/>
              <a:defRPr lang="en-US" sz="12000" b="1" dirty="0">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Add title</a:t>
            </a:r>
          </a:p>
        </p:txBody>
      </p:sp>
      <p:sp>
        <p:nvSpPr>
          <p:cNvPr id="14" name="Text Placeholder 13">
            <a:extLst>
              <a:ext uri="{FF2B5EF4-FFF2-40B4-BE49-F238E27FC236}">
                <a16:creationId xmlns:a16="http://schemas.microsoft.com/office/drawing/2014/main" id="{BBFED26F-A95B-E44E-8707-E9C9C09E6F92}"/>
              </a:ext>
            </a:extLst>
          </p:cNvPr>
          <p:cNvSpPr>
            <a:spLocks noGrp="1"/>
          </p:cNvSpPr>
          <p:nvPr>
            <p:ph type="body" sz="quarter" idx="12" hasCustomPrompt="1"/>
          </p:nvPr>
        </p:nvSpPr>
        <p:spPr>
          <a:xfrm>
            <a:off x="485775" y="361950"/>
            <a:ext cx="5495925" cy="5759450"/>
          </a:xfrm>
        </p:spPr>
        <p:txBody>
          <a:bodyPr/>
          <a:lstStyle>
            <a:lvl1pPr marL="365760" indent="-365760">
              <a:lnSpc>
                <a:spcPct val="90000"/>
              </a:lnSpc>
              <a:spcBef>
                <a:spcPts val="900"/>
              </a:spcBef>
              <a:buFont typeface="+mj-lt"/>
              <a:buAutoNum type="arabicPeriod"/>
              <a:tabLst/>
              <a:defRPr/>
            </a:lvl1pPr>
            <a:lvl2pPr>
              <a:buNone/>
              <a:defRPr/>
            </a:lvl2pPr>
          </a:lstStyle>
          <a:p>
            <a:pPr lvl="0"/>
            <a:r>
              <a:rPr lang="en-US" dirty="0"/>
              <a:t>Click to add topic</a:t>
            </a:r>
          </a:p>
        </p:txBody>
      </p:sp>
    </p:spTree>
    <p:extLst>
      <p:ext uri="{BB962C8B-B14F-4D97-AF65-F5344CB8AC3E}">
        <p14:creationId xmlns:p14="http://schemas.microsoft.com/office/powerpoint/2010/main" val="77435624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Agenda: blue">
    <p:bg>
      <p:bgPr>
        <a:solidFill>
          <a:schemeClr val="tx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5AFEB67-91FA-AF46-907B-E0F184EFDDD9}"/>
              </a:ext>
            </a:extLst>
          </p:cNvPr>
          <p:cNvGraphicFramePr>
            <a:graphicFrameLocks noChangeAspect="1"/>
          </p:cNvGraphicFramePr>
          <p:nvPr>
            <p:custDataLst>
              <p:tags r:id="rId2"/>
            </p:custDataLst>
            <p:extLst>
              <p:ext uri="{D42A27DB-BD31-4B8C-83A1-F6EECF244321}">
                <p14:modId xmlns:p14="http://schemas.microsoft.com/office/powerpoint/2010/main" val="241021594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9991"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15AFEB67-91FA-AF46-907B-E0F184EFDDD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4" name="Text Placeholder 13">
            <a:extLst>
              <a:ext uri="{FF2B5EF4-FFF2-40B4-BE49-F238E27FC236}">
                <a16:creationId xmlns:a16="http://schemas.microsoft.com/office/drawing/2014/main" id="{BBFED26F-A95B-E44E-8707-E9C9C09E6F92}"/>
              </a:ext>
            </a:extLst>
          </p:cNvPr>
          <p:cNvSpPr>
            <a:spLocks noGrp="1"/>
          </p:cNvSpPr>
          <p:nvPr>
            <p:ph type="body" sz="quarter" idx="12" hasCustomPrompt="1"/>
          </p:nvPr>
        </p:nvSpPr>
        <p:spPr>
          <a:xfrm>
            <a:off x="485775" y="361950"/>
            <a:ext cx="5495925" cy="5759450"/>
          </a:xfrm>
        </p:spPr>
        <p:txBody>
          <a:bodyPr/>
          <a:lstStyle>
            <a:lvl1pPr marL="365760" indent="-365760">
              <a:lnSpc>
                <a:spcPct val="90000"/>
              </a:lnSpc>
              <a:spcBef>
                <a:spcPts val="750"/>
              </a:spcBef>
              <a:buFont typeface="+mj-lt"/>
              <a:buAutoNum type="arabicPeriod"/>
              <a:tabLst/>
              <a:defRPr>
                <a:solidFill>
                  <a:schemeClr val="bg1"/>
                </a:solidFill>
              </a:defRPr>
            </a:lvl1pPr>
            <a:lvl2pPr>
              <a:buNone/>
              <a:defRPr/>
            </a:lvl2pPr>
          </a:lstStyle>
          <a:p>
            <a:pPr lvl="0"/>
            <a:r>
              <a:rPr lang="en-US" dirty="0"/>
              <a:t>Click to add topic</a:t>
            </a:r>
          </a:p>
        </p:txBody>
      </p:sp>
      <p:sp>
        <p:nvSpPr>
          <p:cNvPr id="5" name="Text Placeholder 3">
            <a:extLst>
              <a:ext uri="{FF2B5EF4-FFF2-40B4-BE49-F238E27FC236}">
                <a16:creationId xmlns:a16="http://schemas.microsoft.com/office/drawing/2014/main" id="{DB6C0D33-0FFA-6147-9164-8C2E0B03F17F}"/>
              </a:ext>
            </a:extLst>
          </p:cNvPr>
          <p:cNvSpPr>
            <a:spLocks noGrp="1"/>
          </p:cNvSpPr>
          <p:nvPr>
            <p:ph type="body" sz="half" idx="17" hasCustomPrompt="1"/>
          </p:nvPr>
        </p:nvSpPr>
        <p:spPr>
          <a:xfrm>
            <a:off x="5257801" y="4901184"/>
            <a:ext cx="6448424" cy="1846659"/>
          </a:xfrm>
          <a:noFill/>
        </p:spPr>
        <p:txBody>
          <a:bodyPr wrap="square" lIns="0" tIns="0" rIns="0" bIns="0" rtlCol="0">
            <a:spAutoFit/>
          </a:bodyPr>
          <a:lstStyle>
            <a:lvl1pPr marL="0" indent="0" algn="r">
              <a:buNone/>
              <a:defRPr lang="en-US" sz="12000" b="1" dirty="0">
                <a:solidFill>
                  <a:schemeClr val="bg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Add title</a:t>
            </a:r>
          </a:p>
        </p:txBody>
      </p:sp>
    </p:spTree>
    <p:extLst>
      <p:ext uri="{BB962C8B-B14F-4D97-AF65-F5344CB8AC3E}">
        <p14:creationId xmlns:p14="http://schemas.microsoft.com/office/powerpoint/2010/main" val="231915319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Agenda: gradient">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5AFEB67-91FA-AF46-907B-E0F184EFDDD9}"/>
              </a:ext>
            </a:extLst>
          </p:cNvPr>
          <p:cNvGraphicFramePr>
            <a:graphicFrameLocks noChangeAspect="1"/>
          </p:cNvGraphicFramePr>
          <p:nvPr>
            <p:custDataLst>
              <p:tags r:id="rId2"/>
            </p:custDataLst>
            <p:extLst>
              <p:ext uri="{D42A27DB-BD31-4B8C-83A1-F6EECF244321}">
                <p14:modId xmlns:p14="http://schemas.microsoft.com/office/powerpoint/2010/main" val="268597709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9672"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15AFEB67-91FA-AF46-907B-E0F184EFDDD9}"/>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14" name="Text Placeholder 13">
            <a:extLst>
              <a:ext uri="{FF2B5EF4-FFF2-40B4-BE49-F238E27FC236}">
                <a16:creationId xmlns:a16="http://schemas.microsoft.com/office/drawing/2014/main" id="{BBFED26F-A95B-E44E-8707-E9C9C09E6F92}"/>
              </a:ext>
            </a:extLst>
          </p:cNvPr>
          <p:cNvSpPr>
            <a:spLocks noGrp="1"/>
          </p:cNvSpPr>
          <p:nvPr>
            <p:ph type="body" sz="quarter" idx="12" hasCustomPrompt="1"/>
          </p:nvPr>
        </p:nvSpPr>
        <p:spPr>
          <a:xfrm>
            <a:off x="485775" y="361950"/>
            <a:ext cx="5495925" cy="5759450"/>
          </a:xfrm>
        </p:spPr>
        <p:txBody>
          <a:bodyPr/>
          <a:lstStyle>
            <a:lvl1pPr marL="365760" indent="-365760">
              <a:lnSpc>
                <a:spcPct val="90000"/>
              </a:lnSpc>
              <a:spcBef>
                <a:spcPts val="750"/>
              </a:spcBef>
              <a:buFont typeface="+mj-lt"/>
              <a:buAutoNum type="arabicPeriod"/>
              <a:tabLst/>
              <a:defRPr>
                <a:solidFill>
                  <a:schemeClr val="bg1"/>
                </a:solidFill>
              </a:defRPr>
            </a:lvl1pPr>
            <a:lvl2pPr>
              <a:buNone/>
              <a:defRPr/>
            </a:lvl2pPr>
          </a:lstStyle>
          <a:p>
            <a:pPr lvl="0"/>
            <a:r>
              <a:rPr lang="en-US" dirty="0"/>
              <a:t>Click to add topic</a:t>
            </a:r>
          </a:p>
        </p:txBody>
      </p:sp>
      <p:sp>
        <p:nvSpPr>
          <p:cNvPr id="5" name="Text Placeholder 3">
            <a:extLst>
              <a:ext uri="{FF2B5EF4-FFF2-40B4-BE49-F238E27FC236}">
                <a16:creationId xmlns:a16="http://schemas.microsoft.com/office/drawing/2014/main" id="{DB6C0D33-0FFA-6147-9164-8C2E0B03F17F}"/>
              </a:ext>
            </a:extLst>
          </p:cNvPr>
          <p:cNvSpPr>
            <a:spLocks noGrp="1"/>
          </p:cNvSpPr>
          <p:nvPr>
            <p:ph type="body" sz="half" idx="17" hasCustomPrompt="1"/>
          </p:nvPr>
        </p:nvSpPr>
        <p:spPr>
          <a:xfrm>
            <a:off x="5257801" y="4901184"/>
            <a:ext cx="6448424" cy="1846659"/>
          </a:xfrm>
          <a:noFill/>
        </p:spPr>
        <p:txBody>
          <a:bodyPr wrap="square" lIns="0" tIns="0" rIns="0" bIns="0" rtlCol="0">
            <a:spAutoFit/>
          </a:bodyPr>
          <a:lstStyle>
            <a:lvl1pPr marL="0" indent="0" algn="r">
              <a:buNone/>
              <a:defRPr lang="en-US" sz="12000" b="1" dirty="0">
                <a:solidFill>
                  <a:schemeClr val="bg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Add title</a:t>
            </a:r>
          </a:p>
        </p:txBody>
      </p:sp>
    </p:spTree>
    <p:extLst>
      <p:ext uri="{BB962C8B-B14F-4D97-AF65-F5344CB8AC3E}">
        <p14:creationId xmlns:p14="http://schemas.microsoft.com/office/powerpoint/2010/main" val="241554582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ivider: Section Number_White">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5AFEB67-91FA-AF46-907B-E0F184EFDDD9}"/>
              </a:ext>
            </a:extLst>
          </p:cNvPr>
          <p:cNvGraphicFramePr>
            <a:graphicFrameLocks noChangeAspect="1"/>
          </p:cNvGraphicFramePr>
          <p:nvPr>
            <p:custDataLst>
              <p:tags r:id="rId2"/>
            </p:custDataLst>
            <p:extLst>
              <p:ext uri="{D42A27DB-BD31-4B8C-83A1-F6EECF244321}">
                <p14:modId xmlns:p14="http://schemas.microsoft.com/office/powerpoint/2010/main" val="287961241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60696"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15AFEB67-91FA-AF46-907B-E0F184EFDDD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Text Placeholder 31">
            <a:extLst>
              <a:ext uri="{FF2B5EF4-FFF2-40B4-BE49-F238E27FC236}">
                <a16:creationId xmlns:a16="http://schemas.microsoft.com/office/drawing/2014/main" id="{238B94AE-F916-2A4E-BCBE-CA2B8EFD74CE}"/>
              </a:ext>
            </a:extLst>
          </p:cNvPr>
          <p:cNvSpPr>
            <a:spLocks noGrp="1"/>
          </p:cNvSpPr>
          <p:nvPr>
            <p:ph type="body" sz="quarter" idx="10" hasCustomPrompt="1"/>
          </p:nvPr>
        </p:nvSpPr>
        <p:spPr>
          <a:xfrm>
            <a:off x="438912" y="2936238"/>
            <a:ext cx="8353425" cy="2466749"/>
          </a:xfrm>
        </p:spPr>
        <p:txBody>
          <a:bodyPr anchor="t" anchorCtr="0"/>
          <a:lstStyle>
            <a:lvl1pPr>
              <a:lnSpc>
                <a:spcPct val="90000"/>
              </a:lnSpc>
              <a:defRPr sz="5400" b="1">
                <a:solidFill>
                  <a:schemeClr val="accent1"/>
                </a:solidFill>
              </a:defRPr>
            </a:lvl1pPr>
          </a:lstStyle>
          <a:p>
            <a:pPr lvl="0"/>
            <a:r>
              <a:rPr lang="en-US" dirty="0" smtClean="0"/>
              <a:t>Section Name</a:t>
            </a:r>
            <a:endParaRPr lang="en-US" dirty="0"/>
          </a:p>
        </p:txBody>
      </p:sp>
      <p:sp>
        <p:nvSpPr>
          <p:cNvPr id="8" name="Text Placeholder 31">
            <a:extLst>
              <a:ext uri="{FF2B5EF4-FFF2-40B4-BE49-F238E27FC236}">
                <a16:creationId xmlns:a16="http://schemas.microsoft.com/office/drawing/2014/main" id="{238B94AE-F916-2A4E-BCBE-CA2B8EFD74CE}"/>
              </a:ext>
            </a:extLst>
          </p:cNvPr>
          <p:cNvSpPr>
            <a:spLocks noGrp="1"/>
          </p:cNvSpPr>
          <p:nvPr>
            <p:ph type="body" sz="quarter" idx="11" hasCustomPrompt="1"/>
          </p:nvPr>
        </p:nvSpPr>
        <p:spPr>
          <a:xfrm>
            <a:off x="438912" y="636606"/>
            <a:ext cx="8353425" cy="1689905"/>
          </a:xfrm>
        </p:spPr>
        <p:txBody>
          <a:bodyPr anchor="t" anchorCtr="0"/>
          <a:lstStyle>
            <a:lvl1pPr>
              <a:lnSpc>
                <a:spcPct val="90000"/>
              </a:lnSpc>
              <a:defRPr sz="15000" b="1">
                <a:solidFill>
                  <a:schemeClr val="accent1"/>
                </a:solidFill>
              </a:defRPr>
            </a:lvl1pPr>
          </a:lstStyle>
          <a:p>
            <a:pPr lvl="0"/>
            <a:r>
              <a:rPr lang="en-US" dirty="0" smtClean="0"/>
              <a:t>#</a:t>
            </a:r>
            <a:endParaRPr lang="en-US" dirty="0"/>
          </a:p>
        </p:txBody>
      </p:sp>
      <p:sp>
        <p:nvSpPr>
          <p:cNvPr id="9" name="TextBox 8">
            <a:extLst>
              <a:ext uri="{FF2B5EF4-FFF2-40B4-BE49-F238E27FC236}">
                <a16:creationId xmlns:a16="http://schemas.microsoft.com/office/drawing/2014/main" id="{9A6A4D16-2CB5-DA4B-9931-20D3477C5477}"/>
              </a:ext>
            </a:extLst>
          </p:cNvPr>
          <p:cNvSpPr txBox="1"/>
          <p:nvPr userDrawn="1"/>
        </p:nvSpPr>
        <p:spPr>
          <a:xfrm>
            <a:off x="11430000" y="6516007"/>
            <a:ext cx="279400" cy="123111"/>
          </a:xfrm>
          <a:prstGeom prst="rect">
            <a:avLst/>
          </a:prstGeom>
          <a:noFill/>
        </p:spPr>
        <p:txBody>
          <a:bodyPr wrap="squar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B2884B6-D4BF-C444-8DD3-A349AF38F97C}" type="slidenum">
              <a:rPr lang="en-US" sz="800" kern="1200" smtClean="0">
                <a:solidFill>
                  <a:schemeClr val="tx1"/>
                </a:solidFill>
                <a:effectLst/>
                <a:latin typeface="+mn-lt"/>
                <a:ea typeface="+mn-ea"/>
                <a:cs typeface="+mn-cs"/>
              </a:rPr>
              <a:t>‹#›</a:t>
            </a:fld>
            <a:endParaRPr lang="en-US" sz="800" kern="1200" dirty="0">
              <a:solidFill>
                <a:schemeClr val="tx1"/>
              </a:solidFill>
              <a:effectLst/>
              <a:latin typeface="+mn-lt"/>
              <a:ea typeface="+mn-ea"/>
              <a:cs typeface="+mn-cs"/>
            </a:endParaRPr>
          </a:p>
        </p:txBody>
      </p:sp>
    </p:spTree>
    <p:extLst>
      <p:ext uri="{BB962C8B-B14F-4D97-AF65-F5344CB8AC3E}">
        <p14:creationId xmlns:p14="http://schemas.microsoft.com/office/powerpoint/2010/main" val="143338121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ivider: Section Number_Blue">
    <p:bg>
      <p:bgPr>
        <a:solidFill>
          <a:schemeClr val="accent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5AFEB67-91FA-AF46-907B-E0F184EFDDD9}"/>
              </a:ext>
            </a:extLst>
          </p:cNvPr>
          <p:cNvGraphicFramePr>
            <a:graphicFrameLocks noChangeAspect="1"/>
          </p:cNvGraphicFramePr>
          <p:nvPr>
            <p:custDataLst>
              <p:tags r:id="rId2"/>
            </p:custDataLst>
            <p:extLst>
              <p:ext uri="{D42A27DB-BD31-4B8C-83A1-F6EECF244321}">
                <p14:modId xmlns:p14="http://schemas.microsoft.com/office/powerpoint/2010/main" val="335471093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61720"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15AFEB67-91FA-AF46-907B-E0F184EFDDD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Text Placeholder 31">
            <a:extLst>
              <a:ext uri="{FF2B5EF4-FFF2-40B4-BE49-F238E27FC236}">
                <a16:creationId xmlns:a16="http://schemas.microsoft.com/office/drawing/2014/main" id="{238B94AE-F916-2A4E-BCBE-CA2B8EFD74CE}"/>
              </a:ext>
            </a:extLst>
          </p:cNvPr>
          <p:cNvSpPr>
            <a:spLocks noGrp="1"/>
          </p:cNvSpPr>
          <p:nvPr>
            <p:ph type="body" sz="quarter" idx="10" hasCustomPrompt="1"/>
          </p:nvPr>
        </p:nvSpPr>
        <p:spPr>
          <a:xfrm>
            <a:off x="438912" y="2936238"/>
            <a:ext cx="8353425" cy="2466749"/>
          </a:xfrm>
        </p:spPr>
        <p:txBody>
          <a:bodyPr anchor="t" anchorCtr="0"/>
          <a:lstStyle>
            <a:lvl1pPr>
              <a:lnSpc>
                <a:spcPct val="90000"/>
              </a:lnSpc>
              <a:defRPr sz="5400" b="1">
                <a:solidFill>
                  <a:schemeClr val="bg1"/>
                </a:solidFill>
              </a:defRPr>
            </a:lvl1pPr>
          </a:lstStyle>
          <a:p>
            <a:pPr lvl="0"/>
            <a:r>
              <a:rPr lang="en-US" dirty="0" smtClean="0"/>
              <a:t>Section Name</a:t>
            </a:r>
            <a:endParaRPr lang="en-US" dirty="0"/>
          </a:p>
        </p:txBody>
      </p:sp>
      <p:sp>
        <p:nvSpPr>
          <p:cNvPr id="8" name="Text Placeholder 31">
            <a:extLst>
              <a:ext uri="{FF2B5EF4-FFF2-40B4-BE49-F238E27FC236}">
                <a16:creationId xmlns:a16="http://schemas.microsoft.com/office/drawing/2014/main" id="{238B94AE-F916-2A4E-BCBE-CA2B8EFD74CE}"/>
              </a:ext>
            </a:extLst>
          </p:cNvPr>
          <p:cNvSpPr>
            <a:spLocks noGrp="1"/>
          </p:cNvSpPr>
          <p:nvPr>
            <p:ph type="body" sz="quarter" idx="11" hasCustomPrompt="1"/>
          </p:nvPr>
        </p:nvSpPr>
        <p:spPr>
          <a:xfrm>
            <a:off x="438912" y="636606"/>
            <a:ext cx="8353425" cy="1689905"/>
          </a:xfrm>
        </p:spPr>
        <p:txBody>
          <a:bodyPr anchor="t" anchorCtr="0"/>
          <a:lstStyle>
            <a:lvl1pPr>
              <a:lnSpc>
                <a:spcPct val="90000"/>
              </a:lnSpc>
              <a:defRPr sz="15000" b="1">
                <a:solidFill>
                  <a:schemeClr val="bg1"/>
                </a:solidFill>
              </a:defRPr>
            </a:lvl1pPr>
          </a:lstStyle>
          <a:p>
            <a:pPr lvl="0"/>
            <a:r>
              <a:rPr lang="en-US" dirty="0" smtClean="0"/>
              <a:t>#</a:t>
            </a:r>
            <a:endParaRPr lang="en-US" dirty="0"/>
          </a:p>
        </p:txBody>
      </p:sp>
      <p:sp>
        <p:nvSpPr>
          <p:cNvPr id="5" name="TextBox 4">
            <a:extLst>
              <a:ext uri="{FF2B5EF4-FFF2-40B4-BE49-F238E27FC236}">
                <a16:creationId xmlns:a16="http://schemas.microsoft.com/office/drawing/2014/main" id="{9A6A4D16-2CB5-DA4B-9931-20D3477C5477}"/>
              </a:ext>
            </a:extLst>
          </p:cNvPr>
          <p:cNvSpPr txBox="1"/>
          <p:nvPr userDrawn="1"/>
        </p:nvSpPr>
        <p:spPr>
          <a:xfrm>
            <a:off x="11430000" y="6516007"/>
            <a:ext cx="279400" cy="123111"/>
          </a:xfrm>
          <a:prstGeom prst="rect">
            <a:avLst/>
          </a:prstGeom>
          <a:noFill/>
        </p:spPr>
        <p:txBody>
          <a:bodyPr wrap="squar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B2884B6-D4BF-C444-8DD3-A349AF38F97C}" type="slidenum">
              <a:rPr lang="en-US" sz="800" kern="1200" smtClean="0">
                <a:solidFill>
                  <a:schemeClr val="bg1"/>
                </a:solidFill>
                <a:effectLst/>
                <a:latin typeface="+mn-lt"/>
                <a:ea typeface="+mn-ea"/>
                <a:cs typeface="+mn-cs"/>
              </a:rPr>
              <a:t>‹#›</a:t>
            </a:fld>
            <a:endParaRPr lang="en-US" sz="800" kern="1200" dirty="0">
              <a:solidFill>
                <a:schemeClr val="bg1"/>
              </a:solidFill>
              <a:effectLst/>
              <a:latin typeface="+mn-lt"/>
              <a:ea typeface="+mn-ea"/>
              <a:cs typeface="+mn-cs"/>
            </a:endParaRPr>
          </a:p>
        </p:txBody>
      </p:sp>
    </p:spTree>
    <p:extLst>
      <p:ext uri="{BB962C8B-B14F-4D97-AF65-F5344CB8AC3E}">
        <p14:creationId xmlns:p14="http://schemas.microsoft.com/office/powerpoint/2010/main" val="319573036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ivider: Section Number_Gradient">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5AFEB67-91FA-AF46-907B-E0F184EFDDD9}"/>
              </a:ext>
            </a:extLst>
          </p:cNvPr>
          <p:cNvGraphicFramePr>
            <a:graphicFrameLocks noChangeAspect="1"/>
          </p:cNvGraphicFramePr>
          <p:nvPr>
            <p:custDataLst>
              <p:tags r:id="rId2"/>
            </p:custDataLst>
            <p:extLst>
              <p:ext uri="{D42A27DB-BD31-4B8C-83A1-F6EECF244321}">
                <p14:modId xmlns:p14="http://schemas.microsoft.com/office/powerpoint/2010/main" val="7753465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62744"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15AFEB67-91FA-AF46-907B-E0F184EFDDD9}"/>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7" name="Text Placeholder 31">
            <a:extLst>
              <a:ext uri="{FF2B5EF4-FFF2-40B4-BE49-F238E27FC236}">
                <a16:creationId xmlns:a16="http://schemas.microsoft.com/office/drawing/2014/main" id="{238B94AE-F916-2A4E-BCBE-CA2B8EFD74CE}"/>
              </a:ext>
            </a:extLst>
          </p:cNvPr>
          <p:cNvSpPr>
            <a:spLocks noGrp="1"/>
          </p:cNvSpPr>
          <p:nvPr>
            <p:ph type="body" sz="quarter" idx="10" hasCustomPrompt="1"/>
          </p:nvPr>
        </p:nvSpPr>
        <p:spPr>
          <a:xfrm>
            <a:off x="438912" y="2936238"/>
            <a:ext cx="8353425" cy="2466749"/>
          </a:xfrm>
        </p:spPr>
        <p:txBody>
          <a:bodyPr anchor="t" anchorCtr="0"/>
          <a:lstStyle>
            <a:lvl1pPr>
              <a:lnSpc>
                <a:spcPct val="90000"/>
              </a:lnSpc>
              <a:defRPr sz="5400" b="1">
                <a:solidFill>
                  <a:schemeClr val="bg1"/>
                </a:solidFill>
              </a:defRPr>
            </a:lvl1pPr>
          </a:lstStyle>
          <a:p>
            <a:pPr lvl="0"/>
            <a:r>
              <a:rPr lang="en-US" dirty="0" smtClean="0"/>
              <a:t>Section Name</a:t>
            </a:r>
            <a:endParaRPr lang="en-US" dirty="0"/>
          </a:p>
        </p:txBody>
      </p:sp>
      <p:sp>
        <p:nvSpPr>
          <p:cNvPr id="8" name="Text Placeholder 31">
            <a:extLst>
              <a:ext uri="{FF2B5EF4-FFF2-40B4-BE49-F238E27FC236}">
                <a16:creationId xmlns:a16="http://schemas.microsoft.com/office/drawing/2014/main" id="{238B94AE-F916-2A4E-BCBE-CA2B8EFD74CE}"/>
              </a:ext>
            </a:extLst>
          </p:cNvPr>
          <p:cNvSpPr>
            <a:spLocks noGrp="1"/>
          </p:cNvSpPr>
          <p:nvPr>
            <p:ph type="body" sz="quarter" idx="11" hasCustomPrompt="1"/>
          </p:nvPr>
        </p:nvSpPr>
        <p:spPr>
          <a:xfrm>
            <a:off x="438912" y="636606"/>
            <a:ext cx="8353425" cy="1689905"/>
          </a:xfrm>
        </p:spPr>
        <p:txBody>
          <a:bodyPr anchor="t" anchorCtr="0"/>
          <a:lstStyle>
            <a:lvl1pPr>
              <a:lnSpc>
                <a:spcPct val="90000"/>
              </a:lnSpc>
              <a:defRPr sz="15000" b="1">
                <a:solidFill>
                  <a:schemeClr val="bg1"/>
                </a:solidFill>
              </a:defRPr>
            </a:lvl1pPr>
          </a:lstStyle>
          <a:p>
            <a:pPr lvl="0"/>
            <a:r>
              <a:rPr lang="en-US" dirty="0" smtClean="0"/>
              <a:t>#</a:t>
            </a:r>
            <a:endParaRPr lang="en-US" dirty="0"/>
          </a:p>
        </p:txBody>
      </p:sp>
      <p:sp>
        <p:nvSpPr>
          <p:cNvPr id="5" name="TextBox 4">
            <a:extLst>
              <a:ext uri="{FF2B5EF4-FFF2-40B4-BE49-F238E27FC236}">
                <a16:creationId xmlns:a16="http://schemas.microsoft.com/office/drawing/2014/main" id="{9A6A4D16-2CB5-DA4B-9931-20D3477C5477}"/>
              </a:ext>
            </a:extLst>
          </p:cNvPr>
          <p:cNvSpPr txBox="1"/>
          <p:nvPr userDrawn="1"/>
        </p:nvSpPr>
        <p:spPr>
          <a:xfrm>
            <a:off x="11430000" y="6516007"/>
            <a:ext cx="279400" cy="123111"/>
          </a:xfrm>
          <a:prstGeom prst="rect">
            <a:avLst/>
          </a:prstGeom>
          <a:noFill/>
        </p:spPr>
        <p:txBody>
          <a:bodyPr wrap="squar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B2884B6-D4BF-C444-8DD3-A349AF38F97C}" type="slidenum">
              <a:rPr lang="en-US" sz="800" kern="1200" smtClean="0">
                <a:solidFill>
                  <a:schemeClr val="bg1"/>
                </a:solidFill>
                <a:effectLst/>
                <a:latin typeface="+mn-lt"/>
                <a:ea typeface="+mn-ea"/>
                <a:cs typeface="+mn-cs"/>
              </a:rPr>
              <a:t>‹#›</a:t>
            </a:fld>
            <a:endParaRPr lang="en-US" sz="800" kern="1200" dirty="0">
              <a:solidFill>
                <a:schemeClr val="bg1"/>
              </a:solidFill>
              <a:effectLst/>
              <a:latin typeface="+mn-lt"/>
              <a:ea typeface="+mn-ea"/>
              <a:cs typeface="+mn-cs"/>
            </a:endParaRPr>
          </a:p>
        </p:txBody>
      </p:sp>
    </p:spTree>
    <p:extLst>
      <p:ext uri="{BB962C8B-B14F-4D97-AF65-F5344CB8AC3E}">
        <p14:creationId xmlns:p14="http://schemas.microsoft.com/office/powerpoint/2010/main" val="301654445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lef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2"/>
            </p:custDataLst>
            <p:extLst>
              <p:ext uri="{D42A27DB-BD31-4B8C-83A1-F6EECF244321}">
                <p14:modId xmlns:p14="http://schemas.microsoft.com/office/powerpoint/2010/main" val="275501815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4391"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4" name="Content Placeholder 3">
            <a:extLst>
              <a:ext uri="{FF2B5EF4-FFF2-40B4-BE49-F238E27FC236}">
                <a16:creationId xmlns:a16="http://schemas.microsoft.com/office/drawing/2014/main" id="{C57F4E2F-BA25-A740-A97C-6060BBEA4B3C}"/>
              </a:ext>
            </a:extLst>
          </p:cNvPr>
          <p:cNvSpPr>
            <a:spLocks noGrp="1"/>
          </p:cNvSpPr>
          <p:nvPr>
            <p:ph sz="quarter" idx="12"/>
          </p:nvPr>
        </p:nvSpPr>
        <p:spPr>
          <a:xfrm>
            <a:off x="4305300" y="361950"/>
            <a:ext cx="7400923" cy="5756275"/>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ext Placeholder 3">
            <a:extLst>
              <a:ext uri="{FF2B5EF4-FFF2-40B4-BE49-F238E27FC236}">
                <a16:creationId xmlns:a16="http://schemas.microsoft.com/office/drawing/2014/main" id="{25820687-C0F4-2440-8B1E-0B8E11D80213}"/>
              </a:ext>
            </a:extLst>
          </p:cNvPr>
          <p:cNvSpPr>
            <a:spLocks noGrp="1"/>
          </p:cNvSpPr>
          <p:nvPr>
            <p:ph type="body" sz="half" idx="11" hasCustomPrompt="1"/>
          </p:nvPr>
        </p:nvSpPr>
        <p:spPr>
          <a:xfrm>
            <a:off x="6210301" y="6388100"/>
            <a:ext cx="4546600" cy="247650"/>
          </a:xfrm>
        </p:spPr>
        <p:txBody>
          <a:bodyPr anchor="b"/>
          <a:lstStyle>
            <a:lvl1pPr marL="0" indent="0" algn="r">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a footnote</a:t>
            </a:r>
          </a:p>
        </p:txBody>
      </p:sp>
      <p:sp>
        <p:nvSpPr>
          <p:cNvPr id="3" name="Title 2">
            <a:extLst>
              <a:ext uri="{FF2B5EF4-FFF2-40B4-BE49-F238E27FC236}">
                <a16:creationId xmlns:a16="http://schemas.microsoft.com/office/drawing/2014/main" id="{0DD3F4F7-9124-C547-A701-15854901D947}"/>
              </a:ext>
            </a:extLst>
          </p:cNvPr>
          <p:cNvSpPr>
            <a:spLocks noGrp="1"/>
          </p:cNvSpPr>
          <p:nvPr>
            <p:ph type="title" hasCustomPrompt="1"/>
          </p:nvPr>
        </p:nvSpPr>
        <p:spPr>
          <a:xfrm>
            <a:off x="458721" y="356540"/>
            <a:ext cx="3605279" cy="5770271"/>
          </a:xfrm>
        </p:spPr>
        <p:txBody>
          <a:bodyPr/>
          <a:lstStyle/>
          <a:p>
            <a:r>
              <a:rPr lang="en-US" dirty="0"/>
              <a:t>Click to add title</a:t>
            </a:r>
          </a:p>
        </p:txBody>
      </p:sp>
    </p:spTree>
    <p:extLst>
      <p:ext uri="{BB962C8B-B14F-4D97-AF65-F5344CB8AC3E}">
        <p14:creationId xmlns:p14="http://schemas.microsoft.com/office/powerpoint/2010/main" val="44210493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Divider">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F35F0BD-312C-BA46-9B91-926E8ADFBF29}"/>
              </a:ext>
            </a:extLst>
          </p:cNvPr>
          <p:cNvGraphicFramePr>
            <a:graphicFrameLocks noChangeAspect="1"/>
          </p:cNvGraphicFramePr>
          <p:nvPr>
            <p:custDataLst>
              <p:tags r:id="rId2"/>
            </p:custDataLst>
            <p:extLst>
              <p:ext uri="{D42A27DB-BD31-4B8C-83A1-F6EECF244321}">
                <p14:modId xmlns:p14="http://schemas.microsoft.com/office/powerpoint/2010/main" val="191024342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1015"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5F35F0BD-312C-BA46-9B91-926E8ADFBF2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2" name="Text Placeholder 31">
            <a:extLst>
              <a:ext uri="{FF2B5EF4-FFF2-40B4-BE49-F238E27FC236}">
                <a16:creationId xmlns:a16="http://schemas.microsoft.com/office/drawing/2014/main" id="{5CC233EE-2A87-264A-ADED-2C5F6769BB11}"/>
              </a:ext>
            </a:extLst>
          </p:cNvPr>
          <p:cNvSpPr>
            <a:spLocks noGrp="1"/>
          </p:cNvSpPr>
          <p:nvPr>
            <p:ph type="body" sz="quarter" idx="10" hasCustomPrompt="1"/>
          </p:nvPr>
        </p:nvSpPr>
        <p:spPr>
          <a:xfrm>
            <a:off x="438912" y="265694"/>
            <a:ext cx="8353425" cy="5847080"/>
          </a:xfrm>
        </p:spPr>
        <p:txBody>
          <a:bodyPr/>
          <a:lstStyle>
            <a:lvl1pPr>
              <a:lnSpc>
                <a:spcPct val="90000"/>
              </a:lnSpc>
              <a:defRPr sz="5400" b="1">
                <a:solidFill>
                  <a:schemeClr val="tx2"/>
                </a:solidFill>
              </a:defRPr>
            </a:lvl1pPr>
          </a:lstStyle>
          <a:p>
            <a:pPr lvl="0"/>
            <a:r>
              <a:rPr lang="en-US" dirty="0"/>
              <a:t>This slide is for </a:t>
            </a:r>
            <a:br>
              <a:rPr lang="en-US" dirty="0"/>
            </a:br>
            <a:r>
              <a:rPr lang="en-US" dirty="0"/>
              <a:t>divider, statement </a:t>
            </a:r>
            <a:br>
              <a:rPr lang="en-US" dirty="0"/>
            </a:br>
            <a:r>
              <a:rPr lang="en-US" dirty="0"/>
              <a:t>or takeaway.</a:t>
            </a:r>
          </a:p>
        </p:txBody>
      </p:sp>
      <p:sp>
        <p:nvSpPr>
          <p:cNvPr id="4" name="TextBox 3">
            <a:extLst>
              <a:ext uri="{FF2B5EF4-FFF2-40B4-BE49-F238E27FC236}">
                <a16:creationId xmlns:a16="http://schemas.microsoft.com/office/drawing/2014/main" id="{9A6A4D16-2CB5-DA4B-9931-20D3477C5477}"/>
              </a:ext>
            </a:extLst>
          </p:cNvPr>
          <p:cNvSpPr txBox="1"/>
          <p:nvPr userDrawn="1"/>
        </p:nvSpPr>
        <p:spPr>
          <a:xfrm>
            <a:off x="11430000" y="6516007"/>
            <a:ext cx="279400" cy="123111"/>
          </a:xfrm>
          <a:prstGeom prst="rect">
            <a:avLst/>
          </a:prstGeom>
          <a:noFill/>
        </p:spPr>
        <p:txBody>
          <a:bodyPr wrap="squar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B2884B6-D4BF-C444-8DD3-A349AF38F97C}" type="slidenum">
              <a:rPr lang="en-US" sz="800" kern="1200" smtClean="0">
                <a:solidFill>
                  <a:schemeClr val="tx1"/>
                </a:solidFill>
                <a:effectLst/>
                <a:latin typeface="+mn-lt"/>
                <a:ea typeface="+mn-ea"/>
                <a:cs typeface="+mn-cs"/>
              </a:rPr>
              <a:t>‹#›</a:t>
            </a:fld>
            <a:endParaRPr lang="en-US" sz="800" kern="1200" dirty="0">
              <a:solidFill>
                <a:schemeClr val="tx1"/>
              </a:solidFill>
              <a:effectLst/>
              <a:latin typeface="+mn-lt"/>
              <a:ea typeface="+mn-ea"/>
              <a:cs typeface="+mn-cs"/>
            </a:endParaRPr>
          </a:p>
        </p:txBody>
      </p:sp>
    </p:spTree>
    <p:extLst>
      <p:ext uri="{BB962C8B-B14F-4D97-AF65-F5344CB8AC3E}">
        <p14:creationId xmlns:p14="http://schemas.microsoft.com/office/powerpoint/2010/main" val="3032799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p:cSld name="Divider: blue">
    <p:bg>
      <p:bgPr>
        <a:solidFill>
          <a:schemeClr val="tx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F35F0BD-312C-BA46-9B91-926E8ADFBF29}"/>
              </a:ext>
            </a:extLst>
          </p:cNvPr>
          <p:cNvGraphicFramePr>
            <a:graphicFrameLocks noChangeAspect="1"/>
          </p:cNvGraphicFramePr>
          <p:nvPr>
            <p:custDataLst>
              <p:tags r:id="rId2"/>
            </p:custDataLst>
            <p:extLst>
              <p:ext uri="{D42A27DB-BD31-4B8C-83A1-F6EECF244321}">
                <p14:modId xmlns:p14="http://schemas.microsoft.com/office/powerpoint/2010/main" val="288746657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2039"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5F35F0BD-312C-BA46-9B91-926E8ADFBF2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Text Placeholder 31">
            <a:extLst>
              <a:ext uri="{FF2B5EF4-FFF2-40B4-BE49-F238E27FC236}">
                <a16:creationId xmlns:a16="http://schemas.microsoft.com/office/drawing/2014/main" id="{C06AFCA8-B142-954A-B5B3-D20CE87B1662}"/>
              </a:ext>
            </a:extLst>
          </p:cNvPr>
          <p:cNvSpPr>
            <a:spLocks noGrp="1"/>
          </p:cNvSpPr>
          <p:nvPr>
            <p:ph type="body" sz="quarter" idx="10" hasCustomPrompt="1"/>
          </p:nvPr>
        </p:nvSpPr>
        <p:spPr>
          <a:xfrm>
            <a:off x="438912" y="265694"/>
            <a:ext cx="8353425" cy="5847080"/>
          </a:xfrm>
        </p:spPr>
        <p:txBody>
          <a:bodyPr/>
          <a:lstStyle>
            <a:lvl1pPr>
              <a:lnSpc>
                <a:spcPct val="90000"/>
              </a:lnSpc>
              <a:defRPr sz="5400" b="1">
                <a:solidFill>
                  <a:schemeClr val="bg1"/>
                </a:solidFill>
              </a:defRPr>
            </a:lvl1pPr>
          </a:lstStyle>
          <a:p>
            <a:pPr lvl="0"/>
            <a:r>
              <a:rPr lang="en-US" dirty="0"/>
              <a:t>This slide is for </a:t>
            </a:r>
            <a:br>
              <a:rPr lang="en-US" dirty="0"/>
            </a:br>
            <a:r>
              <a:rPr lang="en-US" dirty="0"/>
              <a:t>divider, statement </a:t>
            </a:r>
            <a:br>
              <a:rPr lang="en-US" dirty="0"/>
            </a:br>
            <a:r>
              <a:rPr lang="en-US" dirty="0"/>
              <a:t>or takeaway.</a:t>
            </a:r>
          </a:p>
        </p:txBody>
      </p:sp>
      <p:sp>
        <p:nvSpPr>
          <p:cNvPr id="4" name="TextBox 3">
            <a:extLst>
              <a:ext uri="{FF2B5EF4-FFF2-40B4-BE49-F238E27FC236}">
                <a16:creationId xmlns:a16="http://schemas.microsoft.com/office/drawing/2014/main" id="{9A6A4D16-2CB5-DA4B-9931-20D3477C5477}"/>
              </a:ext>
            </a:extLst>
          </p:cNvPr>
          <p:cNvSpPr txBox="1"/>
          <p:nvPr userDrawn="1"/>
        </p:nvSpPr>
        <p:spPr>
          <a:xfrm>
            <a:off x="11430000" y="6516007"/>
            <a:ext cx="279400" cy="123111"/>
          </a:xfrm>
          <a:prstGeom prst="rect">
            <a:avLst/>
          </a:prstGeom>
          <a:noFill/>
        </p:spPr>
        <p:txBody>
          <a:bodyPr wrap="squar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B2884B6-D4BF-C444-8DD3-A349AF38F97C}" type="slidenum">
              <a:rPr lang="en-US" sz="800" kern="1200" smtClean="0">
                <a:solidFill>
                  <a:schemeClr val="bg1"/>
                </a:solidFill>
                <a:effectLst/>
                <a:latin typeface="+mn-lt"/>
                <a:ea typeface="+mn-ea"/>
                <a:cs typeface="+mn-cs"/>
              </a:rPr>
              <a:t>‹#›</a:t>
            </a:fld>
            <a:endParaRPr lang="en-US" sz="800" kern="1200" dirty="0">
              <a:solidFill>
                <a:schemeClr val="bg1"/>
              </a:solidFill>
              <a:effectLst/>
              <a:latin typeface="+mn-lt"/>
              <a:ea typeface="+mn-ea"/>
              <a:cs typeface="+mn-cs"/>
            </a:endParaRPr>
          </a:p>
        </p:txBody>
      </p:sp>
    </p:spTree>
    <p:extLst>
      <p:ext uri="{BB962C8B-B14F-4D97-AF65-F5344CB8AC3E}">
        <p14:creationId xmlns:p14="http://schemas.microsoft.com/office/powerpoint/2010/main" val="393069755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Divider: gradient">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F35F0BD-312C-BA46-9B91-926E8ADFBF29}"/>
              </a:ext>
            </a:extLst>
          </p:cNvPr>
          <p:cNvGraphicFramePr>
            <a:graphicFrameLocks noChangeAspect="1"/>
          </p:cNvGraphicFramePr>
          <p:nvPr>
            <p:custDataLst>
              <p:tags r:id="rId2"/>
            </p:custDataLst>
            <p:extLst>
              <p:ext uri="{D42A27DB-BD31-4B8C-83A1-F6EECF244321}">
                <p14:modId xmlns:p14="http://schemas.microsoft.com/office/powerpoint/2010/main" val="358015961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63768"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5F35F0BD-312C-BA46-9B91-926E8ADFBF29}"/>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7" name="Text Placeholder 31">
            <a:extLst>
              <a:ext uri="{FF2B5EF4-FFF2-40B4-BE49-F238E27FC236}">
                <a16:creationId xmlns:a16="http://schemas.microsoft.com/office/drawing/2014/main" id="{C06AFCA8-B142-954A-B5B3-D20CE87B1662}"/>
              </a:ext>
            </a:extLst>
          </p:cNvPr>
          <p:cNvSpPr>
            <a:spLocks noGrp="1"/>
          </p:cNvSpPr>
          <p:nvPr>
            <p:ph type="body" sz="quarter" idx="10" hasCustomPrompt="1"/>
          </p:nvPr>
        </p:nvSpPr>
        <p:spPr>
          <a:xfrm>
            <a:off x="438912" y="265694"/>
            <a:ext cx="8353425" cy="5847080"/>
          </a:xfrm>
        </p:spPr>
        <p:txBody>
          <a:bodyPr/>
          <a:lstStyle>
            <a:lvl1pPr>
              <a:lnSpc>
                <a:spcPct val="90000"/>
              </a:lnSpc>
              <a:defRPr sz="5400" b="1">
                <a:solidFill>
                  <a:schemeClr val="bg1"/>
                </a:solidFill>
              </a:defRPr>
            </a:lvl1pPr>
          </a:lstStyle>
          <a:p>
            <a:pPr lvl="0"/>
            <a:r>
              <a:rPr lang="en-US" dirty="0"/>
              <a:t>This slide is for </a:t>
            </a:r>
            <a:br>
              <a:rPr lang="en-US" dirty="0"/>
            </a:br>
            <a:r>
              <a:rPr lang="en-US" dirty="0"/>
              <a:t>divider, statement </a:t>
            </a:r>
            <a:br>
              <a:rPr lang="en-US" dirty="0"/>
            </a:br>
            <a:r>
              <a:rPr lang="en-US" dirty="0"/>
              <a:t>or takeaway.</a:t>
            </a:r>
          </a:p>
        </p:txBody>
      </p:sp>
      <p:sp>
        <p:nvSpPr>
          <p:cNvPr id="4" name="TextBox 3">
            <a:extLst>
              <a:ext uri="{FF2B5EF4-FFF2-40B4-BE49-F238E27FC236}">
                <a16:creationId xmlns:a16="http://schemas.microsoft.com/office/drawing/2014/main" id="{9A6A4D16-2CB5-DA4B-9931-20D3477C5477}"/>
              </a:ext>
            </a:extLst>
          </p:cNvPr>
          <p:cNvSpPr txBox="1"/>
          <p:nvPr userDrawn="1"/>
        </p:nvSpPr>
        <p:spPr>
          <a:xfrm>
            <a:off x="11430000" y="6516007"/>
            <a:ext cx="279400" cy="123111"/>
          </a:xfrm>
          <a:prstGeom prst="rect">
            <a:avLst/>
          </a:prstGeom>
          <a:noFill/>
        </p:spPr>
        <p:txBody>
          <a:bodyPr wrap="squar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B2884B6-D4BF-C444-8DD3-A349AF38F97C}" type="slidenum">
              <a:rPr lang="en-US" sz="800" kern="1200" smtClean="0">
                <a:solidFill>
                  <a:schemeClr val="bg1"/>
                </a:solidFill>
                <a:effectLst/>
                <a:latin typeface="+mn-lt"/>
                <a:ea typeface="+mn-ea"/>
                <a:cs typeface="+mn-cs"/>
              </a:rPr>
              <a:t>‹#›</a:t>
            </a:fld>
            <a:endParaRPr lang="en-US" sz="800" kern="1200" dirty="0">
              <a:solidFill>
                <a:schemeClr val="bg1"/>
              </a:solidFill>
              <a:effectLst/>
              <a:latin typeface="+mn-lt"/>
              <a:ea typeface="+mn-ea"/>
              <a:cs typeface="+mn-cs"/>
            </a:endParaRPr>
          </a:p>
        </p:txBody>
      </p:sp>
    </p:spTree>
    <p:extLst>
      <p:ext uri="{BB962C8B-B14F-4D97-AF65-F5344CB8AC3E}">
        <p14:creationId xmlns:p14="http://schemas.microsoft.com/office/powerpoint/2010/main" val="168713665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COVERS">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7FE7194-555C-BB44-A5DC-9D98C944E3BF}"/>
              </a:ext>
            </a:extLst>
          </p:cNvPr>
          <p:cNvGraphicFramePr>
            <a:graphicFrameLocks noChangeAspect="1"/>
          </p:cNvGraphicFramePr>
          <p:nvPr>
            <p:custDataLst>
              <p:tags r:id="rId2"/>
            </p:custDataLst>
            <p:extLst>
              <p:ext uri="{D42A27DB-BD31-4B8C-83A1-F6EECF244321}">
                <p14:modId xmlns:p14="http://schemas.microsoft.com/office/powerpoint/2010/main" val="130400876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7159"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A7FE7194-555C-BB44-A5DC-9D98C944E3BF}"/>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BA7BA343-6086-A542-94F9-DEB6382B60AA}"/>
              </a:ext>
            </a:extLst>
          </p:cNvPr>
          <p:cNvSpPr txBox="1"/>
          <p:nvPr/>
        </p:nvSpPr>
        <p:spPr>
          <a:xfrm>
            <a:off x="374977" y="2505671"/>
            <a:ext cx="5331588" cy="1846659"/>
          </a:xfrm>
          <a:prstGeom prst="rect">
            <a:avLst/>
          </a:prstGeom>
          <a:noFill/>
        </p:spPr>
        <p:txBody>
          <a:bodyPr wrap="none" lIns="0" tIns="0" rIns="0" bIns="0" rtlCol="0" anchor="ctr">
            <a:spAutoFit/>
          </a:bodyPr>
          <a:lstStyle/>
          <a:p>
            <a:pPr algn="l"/>
            <a:r>
              <a:rPr lang="en-US" sz="12000" b="1" i="0" dirty="0">
                <a:solidFill>
                  <a:schemeClr val="bg1"/>
                </a:solidFill>
                <a:latin typeface="Arial Narrow" panose="020B0604020202020204" pitchFamily="34" charset="0"/>
                <a:cs typeface="Arial Narrow" panose="020B0604020202020204" pitchFamily="34" charset="0"/>
              </a:rPr>
              <a:t>COVERS</a:t>
            </a:r>
          </a:p>
        </p:txBody>
      </p:sp>
    </p:spTree>
    <p:extLst>
      <p:ext uri="{BB962C8B-B14F-4D97-AF65-F5344CB8AC3E}">
        <p14:creationId xmlns:p14="http://schemas.microsoft.com/office/powerpoint/2010/main" val="147304334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1_Title slide A: blu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8E1ADAF-78DD-5D4E-8C31-F993DBAD59C1}"/>
              </a:ext>
            </a:extLst>
          </p:cNvPr>
          <p:cNvGraphicFramePr>
            <a:graphicFrameLocks noChangeAspect="1"/>
          </p:cNvGraphicFramePr>
          <p:nvPr>
            <p:custDataLst>
              <p:tags r:id="rId2"/>
            </p:custDataLst>
            <p:extLst>
              <p:ext uri="{D42A27DB-BD31-4B8C-83A1-F6EECF244321}">
                <p14:modId xmlns:p14="http://schemas.microsoft.com/office/powerpoint/2010/main" val="391418509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64792"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F8E1ADAF-78DD-5D4E-8C31-F993DBAD59C1}"/>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ctrTitle" hasCustomPrompt="1"/>
          </p:nvPr>
        </p:nvSpPr>
        <p:spPr>
          <a:xfrm>
            <a:off x="448437" y="1764792"/>
            <a:ext cx="9365488" cy="1600200"/>
          </a:xfrm>
        </p:spPr>
        <p:txBody>
          <a:bodyPr vert="horz"/>
          <a:lstStyle>
            <a:lvl1pPr>
              <a:lnSpc>
                <a:spcPct val="90000"/>
              </a:lnSpc>
              <a:defRPr sz="6000" b="1" i="0" cap="all" baseline="0">
                <a:solidFill>
                  <a:schemeClr val="accent1"/>
                </a:solidFill>
                <a:latin typeface="Arial Narrow" panose="020B0604020202020204" pitchFamily="34" charset="0"/>
                <a:cs typeface="Arial Narrow" panose="020B0604020202020204" pitchFamily="34" charset="0"/>
              </a:defRPr>
            </a:lvl1pPr>
          </a:lstStyle>
          <a:p>
            <a:r>
              <a:rPr lang="en-US" dirty="0"/>
              <a:t>This is a placeholder </a:t>
            </a:r>
            <a:br>
              <a:rPr lang="en-US" dirty="0"/>
            </a:br>
            <a:r>
              <a:rPr lang="en-US" dirty="0"/>
              <a:t>for main title</a:t>
            </a:r>
          </a:p>
        </p:txBody>
      </p:sp>
      <p:sp>
        <p:nvSpPr>
          <p:cNvPr id="3" name="Subtitle 2"/>
          <p:cNvSpPr>
            <a:spLocks noGrp="1"/>
          </p:cNvSpPr>
          <p:nvPr>
            <p:ph type="subTitle" idx="1" hasCustomPrompt="1"/>
          </p:nvPr>
        </p:nvSpPr>
        <p:spPr>
          <a:xfrm>
            <a:off x="462026" y="3557016"/>
            <a:ext cx="9310624" cy="788377"/>
          </a:xfrm>
        </p:spPr>
        <p:txBody>
          <a:bodyPr anchor="t"/>
          <a:lstStyle>
            <a:lvl1pPr marL="0" indent="0" algn="l">
              <a:buNone/>
              <a:defRPr sz="2400">
                <a:solidFill>
                  <a:schemeClr val="accent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 goes here</a:t>
            </a:r>
          </a:p>
          <a:p>
            <a:endParaRPr lang="en-US" dirty="0"/>
          </a:p>
        </p:txBody>
      </p:sp>
      <p:sp>
        <p:nvSpPr>
          <p:cNvPr id="12" name="Text Placeholder 3">
            <a:extLst>
              <a:ext uri="{FF2B5EF4-FFF2-40B4-BE49-F238E27FC236}">
                <a16:creationId xmlns:a16="http://schemas.microsoft.com/office/drawing/2014/main" id="{57A2FE8B-9C7D-A345-BB2B-099F6C5E5640}"/>
              </a:ext>
            </a:extLst>
          </p:cNvPr>
          <p:cNvSpPr>
            <a:spLocks noGrp="1"/>
          </p:cNvSpPr>
          <p:nvPr>
            <p:ph type="body" sz="half" idx="2" hasCustomPrompt="1"/>
          </p:nvPr>
        </p:nvSpPr>
        <p:spPr>
          <a:xfrm>
            <a:off x="485775" y="4870889"/>
            <a:ext cx="7400925" cy="1038525"/>
          </a:xfrm>
        </p:spPr>
        <p:txBody>
          <a:bodyPr anchor="b" anchorCtr="0"/>
          <a:lstStyle>
            <a:lvl1pPr marL="0" marR="0" indent="0" algn="l" defTabSz="457200" rtl="0" eaLnBrk="1" fontAlgn="auto" latinLnBrk="0" hangingPunct="1">
              <a:lnSpc>
                <a:spcPct val="100000"/>
              </a:lnSpc>
              <a:spcBef>
                <a:spcPts val="0"/>
              </a:spcBef>
              <a:spcAft>
                <a:spcPts val="0"/>
              </a:spcAft>
              <a:buClrTx/>
              <a:buSzTx/>
              <a:buFont typeface="Arial"/>
              <a:buNone/>
              <a:tabLst/>
              <a:defRPr lang="en-US" sz="1400">
                <a:solidFill>
                  <a:schemeClr val="accent1"/>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dirty="0">
                <a:effectLst/>
                <a:latin typeface="Arial" panose="020B0604020202020204" pitchFamily="34" charset="0"/>
              </a:rPr>
              <a:t>Client name (optional)</a:t>
            </a:r>
            <a:br>
              <a:rPr lang="en-US" dirty="0">
                <a:effectLst/>
                <a:latin typeface="Arial" panose="020B0604020202020204" pitchFamily="34" charset="0"/>
              </a:rPr>
            </a:br>
            <a:r>
              <a:rPr lang="en-US" dirty="0">
                <a:effectLst/>
                <a:latin typeface="Arial" panose="020B0604020202020204" pitchFamily="34" charset="0"/>
              </a:rPr>
              <a:t>Month 00, 20XX</a:t>
            </a:r>
            <a:br>
              <a:rPr lang="en-US" dirty="0">
                <a:effectLst/>
                <a:latin typeface="Arial" panose="020B0604020202020204" pitchFamily="34" charset="0"/>
              </a:rPr>
            </a:br>
            <a:r>
              <a:rPr lang="en-US" dirty="0">
                <a:effectLst/>
                <a:latin typeface="Arial" panose="020B0604020202020204" pitchFamily="34" charset="0"/>
              </a:rPr>
              <a:t>Presenter1, Job Title, location  |  Presenter2, Job Title, location</a:t>
            </a:r>
            <a:br>
              <a:rPr lang="en-US" dirty="0">
                <a:effectLst/>
                <a:latin typeface="Arial" panose="020B0604020202020204" pitchFamily="34" charset="0"/>
              </a:rPr>
            </a:br>
            <a:r>
              <a:rPr lang="en-US" dirty="0">
                <a:effectLst/>
                <a:latin typeface="Arial" panose="020B0604020202020204" pitchFamily="34" charset="0"/>
              </a:rPr>
              <a:t/>
            </a:r>
            <a:br>
              <a:rPr lang="en-US" dirty="0">
                <a:effectLst/>
                <a:latin typeface="Arial" panose="020B0604020202020204" pitchFamily="34" charset="0"/>
              </a:rPr>
            </a:br>
            <a:r>
              <a:rPr lang="en-US" dirty="0">
                <a:effectLst/>
                <a:latin typeface="Arial" panose="020B0604020202020204" pitchFamily="34" charset="0"/>
              </a:rPr>
              <a:t>Tagline (optional)</a:t>
            </a:r>
          </a:p>
        </p:txBody>
      </p:sp>
      <p:sp>
        <p:nvSpPr>
          <p:cNvPr id="14" name="Rectangle 13">
            <a:extLst>
              <a:ext uri="{FF2B5EF4-FFF2-40B4-BE49-F238E27FC236}">
                <a16:creationId xmlns:a16="http://schemas.microsoft.com/office/drawing/2014/main" id="{D5790EA8-AA62-F64A-8A53-EECC7CCE7712}"/>
              </a:ext>
            </a:extLst>
          </p:cNvPr>
          <p:cNvSpPr/>
          <p:nvPr/>
        </p:nvSpPr>
        <p:spPr>
          <a:xfrm>
            <a:off x="485775" y="6257135"/>
            <a:ext cx="1785745" cy="153888"/>
          </a:xfrm>
          <a:prstGeom prst="rect">
            <a:avLst/>
          </a:prstGeom>
        </p:spPr>
        <p:txBody>
          <a:bodyPr wrap="none" lIns="0" tIns="0" rIns="0" bIns="0">
            <a:spAutoFit/>
          </a:bodyPr>
          <a:lstStyle/>
          <a:p>
            <a:r>
              <a:rPr lang="en-US" sz="1000" dirty="0">
                <a:solidFill>
                  <a:schemeClr val="accent1"/>
                </a:solidFill>
                <a:effectLst/>
                <a:latin typeface="Arial" panose="020B0604020202020204" pitchFamily="34" charset="0"/>
              </a:rPr>
              <a:t>A business of Marsh McLennan</a:t>
            </a:r>
            <a:endParaRPr lang="en-US" sz="1000" dirty="0">
              <a:solidFill>
                <a:schemeClr val="accent1"/>
              </a:solidFill>
            </a:endParaRPr>
          </a:p>
        </p:txBody>
      </p:sp>
      <p:sp>
        <p:nvSpPr>
          <p:cNvPr id="9" name="Picture Placeholder 5">
            <a:extLst>
              <a:ext uri="{FF2B5EF4-FFF2-40B4-BE49-F238E27FC236}">
                <a16:creationId xmlns:a16="http://schemas.microsoft.com/office/drawing/2014/main" id="{2929EB37-3AE6-8A4E-BF4E-DB8B5DE61D2A}"/>
              </a:ext>
            </a:extLst>
          </p:cNvPr>
          <p:cNvSpPr>
            <a:spLocks noGrp="1" noChangeAspect="1"/>
          </p:cNvSpPr>
          <p:nvPr>
            <p:ph type="pic" sz="quarter" idx="11" hasCustomPrompt="1"/>
          </p:nvPr>
        </p:nvSpPr>
        <p:spPr>
          <a:xfrm>
            <a:off x="8707120" y="361951"/>
            <a:ext cx="3002280" cy="338459"/>
          </a:xfrm>
          <a:noFill/>
        </p:spPr>
        <p:txBody>
          <a:bodyPr anchor="t" anchorCtr="0"/>
          <a:lstStyle>
            <a:lvl1pPr algn="r">
              <a:defRPr sz="1000">
                <a:solidFill>
                  <a:srgbClr val="FF0000"/>
                </a:solidFill>
              </a:defRPr>
            </a:lvl1pPr>
          </a:lstStyle>
          <a:p>
            <a:r>
              <a:rPr lang="en-US" dirty="0" smtClean="0"/>
              <a:t>Placeholder for a third party or a client logo if needed.</a:t>
            </a:r>
            <a:br>
              <a:rPr lang="en-US" dirty="0" smtClean="0"/>
            </a:br>
            <a:endParaRPr lang="en-US" dirty="0" smtClean="0"/>
          </a:p>
        </p:txBody>
      </p:sp>
      <p:sp>
        <p:nvSpPr>
          <p:cNvPr id="11" name="Text Placeholder 7"/>
          <p:cNvSpPr>
            <a:spLocks noGrp="1"/>
          </p:cNvSpPr>
          <p:nvPr>
            <p:ph type="body" sz="quarter" idx="13" hasCustomPrompt="1"/>
          </p:nvPr>
        </p:nvSpPr>
        <p:spPr>
          <a:xfrm>
            <a:off x="8707120" y="1081847"/>
            <a:ext cx="2875280" cy="639323"/>
          </a:xfrm>
        </p:spPr>
        <p:txBody>
          <a:bodyPr/>
          <a:lstStyle>
            <a:lvl1pPr>
              <a:defRPr sz="1000" baseline="0">
                <a:solidFill>
                  <a:srgbClr val="FF0000"/>
                </a:solidFill>
              </a:defRPr>
            </a:lvl1pPr>
          </a:lstStyle>
          <a:p>
            <a:pPr lvl="0"/>
            <a:r>
              <a:rPr lang="en-US" dirty="0" smtClean="0"/>
              <a:t>Zoom in on placeholder until image icon appears. Click icon to insert your image. Once inserted, go to Format tab &gt; click Crop &gt; select “Fit”. Size up as needed if you have a vertical or square logo.  </a:t>
            </a:r>
          </a:p>
        </p:txBody>
      </p:sp>
      <p:sp>
        <p:nvSpPr>
          <p:cNvPr id="15" name="Text Placeholder 7"/>
          <p:cNvSpPr>
            <a:spLocks noGrp="1"/>
          </p:cNvSpPr>
          <p:nvPr>
            <p:ph type="body" sz="quarter" idx="14" hasCustomPrompt="1"/>
          </p:nvPr>
        </p:nvSpPr>
        <p:spPr>
          <a:xfrm>
            <a:off x="8648065" y="744032"/>
            <a:ext cx="213995" cy="288666"/>
          </a:xfrm>
          <a:prstGeom prst="upArrow">
            <a:avLst>
              <a:gd name="adj1" fmla="val 33976"/>
              <a:gd name="adj2" fmla="val 50000"/>
            </a:avLst>
          </a:prstGeom>
          <a:solidFill>
            <a:srgbClr val="FF0000"/>
          </a:solidFill>
        </p:spPr>
        <p:txBody>
          <a:bodyPr/>
          <a:lstStyle>
            <a:lvl1pPr>
              <a:defRPr sz="1000" baseline="0">
                <a:solidFill>
                  <a:srgbClr val="FF0000"/>
                </a:solidFill>
              </a:defRPr>
            </a:lvl1pPr>
          </a:lstStyle>
          <a:p>
            <a:pPr lvl="0"/>
            <a:r>
              <a:rPr lang="en-US" dirty="0" smtClean="0"/>
              <a:t> </a:t>
            </a:r>
          </a:p>
        </p:txBody>
      </p:sp>
      <p:pic>
        <p:nvPicPr>
          <p:cNvPr id="16" name="Picture 15"/>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85775" y="342901"/>
            <a:ext cx="3078486" cy="341377"/>
          </a:xfrm>
          <a:prstGeom prst="rect">
            <a:avLst/>
          </a:prstGeom>
        </p:spPr>
      </p:pic>
    </p:spTree>
    <p:extLst>
      <p:ext uri="{BB962C8B-B14F-4D97-AF65-F5344CB8AC3E}">
        <p14:creationId xmlns:p14="http://schemas.microsoft.com/office/powerpoint/2010/main" val="277436748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itle slide A: blue">
    <p:bg>
      <p:bgPr>
        <a:solidFill>
          <a:schemeClr val="tx2"/>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8E1ADAF-78DD-5D4E-8C31-F993DBAD59C1}"/>
              </a:ext>
            </a:extLst>
          </p:cNvPr>
          <p:cNvGraphicFramePr>
            <a:graphicFrameLocks noChangeAspect="1"/>
          </p:cNvGraphicFramePr>
          <p:nvPr>
            <p:custDataLst>
              <p:tags r:id="rId2"/>
            </p:custDataLst>
            <p:extLst>
              <p:ext uri="{D42A27DB-BD31-4B8C-83A1-F6EECF244321}">
                <p14:modId xmlns:p14="http://schemas.microsoft.com/office/powerpoint/2010/main" val="92280820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8183"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F8E1ADAF-78DD-5D4E-8C31-F993DBAD59C1}"/>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ctrTitle" hasCustomPrompt="1"/>
          </p:nvPr>
        </p:nvSpPr>
        <p:spPr>
          <a:xfrm>
            <a:off x="448437" y="1764792"/>
            <a:ext cx="9365488" cy="1600200"/>
          </a:xfrm>
        </p:spPr>
        <p:txBody>
          <a:bodyPr vert="horz"/>
          <a:lstStyle>
            <a:lvl1pPr>
              <a:lnSpc>
                <a:spcPct val="90000"/>
              </a:lnSpc>
              <a:defRPr sz="6000" b="1" i="0" cap="all" baseline="0">
                <a:solidFill>
                  <a:schemeClr val="bg1"/>
                </a:solidFill>
                <a:latin typeface="Arial Narrow" panose="020B0604020202020204" pitchFamily="34" charset="0"/>
                <a:cs typeface="Arial Narrow" panose="020B0604020202020204" pitchFamily="34" charset="0"/>
              </a:defRPr>
            </a:lvl1pPr>
          </a:lstStyle>
          <a:p>
            <a:r>
              <a:rPr lang="en-US" dirty="0"/>
              <a:t>This is a placeholder </a:t>
            </a:r>
            <a:br>
              <a:rPr lang="en-US" dirty="0"/>
            </a:br>
            <a:r>
              <a:rPr lang="en-US" dirty="0"/>
              <a:t>for main title</a:t>
            </a:r>
          </a:p>
        </p:txBody>
      </p:sp>
      <p:sp>
        <p:nvSpPr>
          <p:cNvPr id="3" name="Subtitle 2"/>
          <p:cNvSpPr>
            <a:spLocks noGrp="1"/>
          </p:cNvSpPr>
          <p:nvPr>
            <p:ph type="subTitle" idx="1" hasCustomPrompt="1"/>
          </p:nvPr>
        </p:nvSpPr>
        <p:spPr>
          <a:xfrm>
            <a:off x="462026" y="3557016"/>
            <a:ext cx="9310624" cy="788377"/>
          </a:xfrm>
        </p:spPr>
        <p:txBody>
          <a:bodyPr anchor="t"/>
          <a:lstStyle>
            <a:lvl1pPr marL="0" indent="0" algn="l">
              <a:buNone/>
              <a:defRPr sz="24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 goes here</a:t>
            </a:r>
          </a:p>
          <a:p>
            <a:endParaRPr lang="en-US" dirty="0"/>
          </a:p>
        </p:txBody>
      </p:sp>
      <p:sp>
        <p:nvSpPr>
          <p:cNvPr id="12" name="Text Placeholder 3">
            <a:extLst>
              <a:ext uri="{FF2B5EF4-FFF2-40B4-BE49-F238E27FC236}">
                <a16:creationId xmlns:a16="http://schemas.microsoft.com/office/drawing/2014/main" id="{57A2FE8B-9C7D-A345-BB2B-099F6C5E5640}"/>
              </a:ext>
            </a:extLst>
          </p:cNvPr>
          <p:cNvSpPr>
            <a:spLocks noGrp="1"/>
          </p:cNvSpPr>
          <p:nvPr>
            <p:ph type="body" sz="half" idx="2" hasCustomPrompt="1"/>
          </p:nvPr>
        </p:nvSpPr>
        <p:spPr>
          <a:xfrm>
            <a:off x="485775" y="4870889"/>
            <a:ext cx="7400925" cy="1038525"/>
          </a:xfrm>
        </p:spPr>
        <p:txBody>
          <a:bodyPr anchor="b" anchorCtr="0"/>
          <a:lstStyle>
            <a:lvl1pPr marL="0" marR="0" indent="0" algn="l" defTabSz="457200" rtl="0" eaLnBrk="1" fontAlgn="auto" latinLnBrk="0" hangingPunct="1">
              <a:lnSpc>
                <a:spcPct val="100000"/>
              </a:lnSpc>
              <a:spcBef>
                <a:spcPts val="0"/>
              </a:spcBef>
              <a:spcAft>
                <a:spcPts val="0"/>
              </a:spcAft>
              <a:buClrTx/>
              <a:buSzTx/>
              <a:buFont typeface="Arial"/>
              <a:buNone/>
              <a:tabLst/>
              <a:defRPr lang="en-US" sz="1400">
                <a:solidFill>
                  <a:schemeClr val="bg1"/>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dirty="0">
                <a:effectLst/>
                <a:latin typeface="Arial" panose="020B0604020202020204" pitchFamily="34" charset="0"/>
              </a:rPr>
              <a:t>Client name (optional)</a:t>
            </a:r>
            <a:br>
              <a:rPr lang="en-US" dirty="0">
                <a:effectLst/>
                <a:latin typeface="Arial" panose="020B0604020202020204" pitchFamily="34" charset="0"/>
              </a:rPr>
            </a:br>
            <a:r>
              <a:rPr lang="en-US" dirty="0">
                <a:effectLst/>
                <a:latin typeface="Arial" panose="020B0604020202020204" pitchFamily="34" charset="0"/>
              </a:rPr>
              <a:t>Month 00, 20XX</a:t>
            </a:r>
            <a:br>
              <a:rPr lang="en-US" dirty="0">
                <a:effectLst/>
                <a:latin typeface="Arial" panose="020B0604020202020204" pitchFamily="34" charset="0"/>
              </a:rPr>
            </a:br>
            <a:r>
              <a:rPr lang="en-US" dirty="0">
                <a:effectLst/>
                <a:latin typeface="Arial" panose="020B0604020202020204" pitchFamily="34" charset="0"/>
              </a:rPr>
              <a:t>Presenter1, Job Title, location  |  Presenter2, Job Title, location</a:t>
            </a:r>
            <a:br>
              <a:rPr lang="en-US" dirty="0">
                <a:effectLst/>
                <a:latin typeface="Arial" panose="020B0604020202020204" pitchFamily="34" charset="0"/>
              </a:rPr>
            </a:br>
            <a:r>
              <a:rPr lang="en-US" dirty="0">
                <a:effectLst/>
                <a:latin typeface="Arial" panose="020B0604020202020204" pitchFamily="34" charset="0"/>
              </a:rPr>
              <a:t/>
            </a:r>
            <a:br>
              <a:rPr lang="en-US" dirty="0">
                <a:effectLst/>
                <a:latin typeface="Arial" panose="020B0604020202020204" pitchFamily="34" charset="0"/>
              </a:rPr>
            </a:br>
            <a:r>
              <a:rPr lang="en-US" dirty="0">
                <a:effectLst/>
                <a:latin typeface="Arial" panose="020B0604020202020204" pitchFamily="34" charset="0"/>
              </a:rPr>
              <a:t>Tagline (optional)</a:t>
            </a:r>
          </a:p>
        </p:txBody>
      </p:sp>
      <p:sp>
        <p:nvSpPr>
          <p:cNvPr id="14" name="Rectangle 13">
            <a:extLst>
              <a:ext uri="{FF2B5EF4-FFF2-40B4-BE49-F238E27FC236}">
                <a16:creationId xmlns:a16="http://schemas.microsoft.com/office/drawing/2014/main" id="{D5790EA8-AA62-F64A-8A53-EECC7CCE7712}"/>
              </a:ext>
            </a:extLst>
          </p:cNvPr>
          <p:cNvSpPr/>
          <p:nvPr/>
        </p:nvSpPr>
        <p:spPr>
          <a:xfrm>
            <a:off x="485775" y="6257135"/>
            <a:ext cx="1785745" cy="153888"/>
          </a:xfrm>
          <a:prstGeom prst="rect">
            <a:avLst/>
          </a:prstGeom>
        </p:spPr>
        <p:txBody>
          <a:bodyPr wrap="none" lIns="0" tIns="0" rIns="0" bIns="0">
            <a:spAutoFit/>
          </a:bodyPr>
          <a:lstStyle/>
          <a:p>
            <a:r>
              <a:rPr lang="en-US" sz="1000" dirty="0">
                <a:solidFill>
                  <a:schemeClr val="bg1"/>
                </a:solidFill>
                <a:effectLst/>
                <a:latin typeface="Arial" panose="020B0604020202020204" pitchFamily="34" charset="0"/>
              </a:rPr>
              <a:t>A business of Marsh McLennan</a:t>
            </a:r>
            <a:endParaRPr lang="en-US" sz="1000" dirty="0">
              <a:solidFill>
                <a:schemeClr val="bg1"/>
              </a:solidFill>
            </a:endParaRPr>
          </a:p>
        </p:txBody>
      </p:sp>
      <p:sp>
        <p:nvSpPr>
          <p:cNvPr id="9" name="Picture Placeholder 5">
            <a:extLst>
              <a:ext uri="{FF2B5EF4-FFF2-40B4-BE49-F238E27FC236}">
                <a16:creationId xmlns:a16="http://schemas.microsoft.com/office/drawing/2014/main" id="{2929EB37-3AE6-8A4E-BF4E-DB8B5DE61D2A}"/>
              </a:ext>
            </a:extLst>
          </p:cNvPr>
          <p:cNvSpPr>
            <a:spLocks noGrp="1" noChangeAspect="1"/>
          </p:cNvSpPr>
          <p:nvPr>
            <p:ph type="pic" sz="quarter" idx="11" hasCustomPrompt="1"/>
          </p:nvPr>
        </p:nvSpPr>
        <p:spPr>
          <a:xfrm>
            <a:off x="8707120" y="361951"/>
            <a:ext cx="3002280" cy="338459"/>
          </a:xfrm>
          <a:noFill/>
        </p:spPr>
        <p:txBody>
          <a:bodyPr anchor="t" anchorCtr="0"/>
          <a:lstStyle>
            <a:lvl1pPr algn="r">
              <a:defRPr sz="1000">
                <a:solidFill>
                  <a:srgbClr val="FF0000"/>
                </a:solidFill>
              </a:defRPr>
            </a:lvl1pPr>
          </a:lstStyle>
          <a:p>
            <a:r>
              <a:rPr lang="en-US" dirty="0" smtClean="0"/>
              <a:t>Placeholder for a third party or a client logo if needed.</a:t>
            </a:r>
            <a:br>
              <a:rPr lang="en-US" dirty="0" smtClean="0"/>
            </a:br>
            <a:endParaRPr lang="en-US" dirty="0" smtClean="0"/>
          </a:p>
        </p:txBody>
      </p:sp>
      <p:sp>
        <p:nvSpPr>
          <p:cNvPr id="11" name="Text Placeholder 7"/>
          <p:cNvSpPr>
            <a:spLocks noGrp="1"/>
          </p:cNvSpPr>
          <p:nvPr>
            <p:ph type="body" sz="quarter" idx="13" hasCustomPrompt="1"/>
          </p:nvPr>
        </p:nvSpPr>
        <p:spPr>
          <a:xfrm>
            <a:off x="8707120" y="1081847"/>
            <a:ext cx="2875280" cy="639323"/>
          </a:xfrm>
          <a:solidFill>
            <a:schemeClr val="bg1"/>
          </a:solidFill>
        </p:spPr>
        <p:txBody>
          <a:bodyPr/>
          <a:lstStyle>
            <a:lvl1pPr>
              <a:defRPr sz="1000" baseline="0">
                <a:solidFill>
                  <a:srgbClr val="FF0000"/>
                </a:solidFill>
              </a:defRPr>
            </a:lvl1pPr>
          </a:lstStyle>
          <a:p>
            <a:pPr lvl="0"/>
            <a:r>
              <a:rPr lang="en-US" dirty="0" smtClean="0"/>
              <a:t>Zoom in on placeholder until image icon appears. Click icon to insert your image. Once inserted, go to Format tab &gt; click Crop &gt; select “Fit”. Size up as needed if you have a vertical or square logo.  </a:t>
            </a:r>
          </a:p>
        </p:txBody>
      </p:sp>
      <p:sp>
        <p:nvSpPr>
          <p:cNvPr id="15" name="Text Placeholder 7"/>
          <p:cNvSpPr>
            <a:spLocks noGrp="1"/>
          </p:cNvSpPr>
          <p:nvPr>
            <p:ph type="body" sz="quarter" idx="14" hasCustomPrompt="1"/>
          </p:nvPr>
        </p:nvSpPr>
        <p:spPr>
          <a:xfrm>
            <a:off x="8648065" y="744032"/>
            <a:ext cx="213995" cy="288666"/>
          </a:xfrm>
          <a:prstGeom prst="upArrow">
            <a:avLst>
              <a:gd name="adj1" fmla="val 33976"/>
              <a:gd name="adj2" fmla="val 50000"/>
            </a:avLst>
          </a:prstGeom>
          <a:solidFill>
            <a:srgbClr val="FF0000"/>
          </a:solidFill>
        </p:spPr>
        <p:txBody>
          <a:bodyPr/>
          <a:lstStyle>
            <a:lvl1pPr>
              <a:defRPr sz="1000" baseline="0">
                <a:solidFill>
                  <a:srgbClr val="FF0000"/>
                </a:solidFill>
              </a:defRPr>
            </a:lvl1pPr>
          </a:lstStyle>
          <a:p>
            <a:pPr lvl="0"/>
            <a:r>
              <a:rPr lang="en-US" dirty="0" smtClean="0"/>
              <a:t> </a:t>
            </a:r>
          </a:p>
        </p:txBody>
      </p:sp>
      <p:sp>
        <p:nvSpPr>
          <p:cNvPr id="16" name="Text Placeholder 7"/>
          <p:cNvSpPr>
            <a:spLocks noGrp="1"/>
          </p:cNvSpPr>
          <p:nvPr>
            <p:ph type="body" sz="quarter" idx="15" hasCustomPrompt="1"/>
          </p:nvPr>
        </p:nvSpPr>
        <p:spPr>
          <a:xfrm>
            <a:off x="448437" y="816206"/>
            <a:ext cx="6288030" cy="752691"/>
          </a:xfrm>
          <a:solidFill>
            <a:schemeClr val="bg1"/>
          </a:solidFill>
        </p:spPr>
        <p:txBody>
          <a:bodyPr/>
          <a:lstStyle>
            <a:lvl1pPr>
              <a:spcAft>
                <a:spcPts val="0"/>
              </a:spcAft>
              <a:defRPr sz="1400" b="1" baseline="0">
                <a:solidFill>
                  <a:srgbClr val="FF0000"/>
                </a:solidFill>
              </a:defRPr>
            </a:lvl1pPr>
          </a:lstStyle>
          <a:p>
            <a:pPr lvl="0"/>
            <a:r>
              <a:rPr lang="en-US" dirty="0" smtClean="0"/>
              <a:t>Note: If using a third party or client logo, it needs to have a transparent background and have enough contrast against the background (preferably white). Please visit logo library on Global Sales SharePoint site. </a:t>
            </a:r>
          </a:p>
        </p:txBody>
      </p:sp>
      <p:pic>
        <p:nvPicPr>
          <p:cNvPr id="17" name="Picture 1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85775" y="342901"/>
            <a:ext cx="3078486" cy="341377"/>
          </a:xfrm>
          <a:prstGeom prst="rect">
            <a:avLst/>
          </a:prstGeom>
        </p:spPr>
      </p:pic>
    </p:spTree>
    <p:extLst>
      <p:ext uri="{BB962C8B-B14F-4D97-AF65-F5344CB8AC3E}">
        <p14:creationId xmlns:p14="http://schemas.microsoft.com/office/powerpoint/2010/main" val="38297259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itle slide A: gradient">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8E1ADAF-78DD-5D4E-8C31-F993DBAD59C1}"/>
              </a:ext>
            </a:extLst>
          </p:cNvPr>
          <p:cNvGraphicFramePr>
            <a:graphicFrameLocks noChangeAspect="1"/>
          </p:cNvGraphicFramePr>
          <p:nvPr>
            <p:custDataLst>
              <p:tags r:id="rId2"/>
            </p:custDataLst>
            <p:extLst>
              <p:ext uri="{D42A27DB-BD31-4B8C-83A1-F6EECF244321}">
                <p14:modId xmlns:p14="http://schemas.microsoft.com/office/powerpoint/2010/main" val="3990343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9207" name="think-cell Slide" r:id="rId5" imgW="7772400" imgH="10058400" progId="TCLayout.ActiveDocument.1">
                  <p:embed/>
                </p:oleObj>
              </mc:Choice>
              <mc:Fallback>
                <p:oleObj name="think-cell Slide" r:id="rId5" imgW="7772400" imgH="10058400" progId="TCLayout.ActiveDocument.1">
                  <p:embed/>
                  <p:pic>
                    <p:nvPicPr>
                      <p:cNvPr id="7" name="Object 6" hidden="1">
                        <a:extLst>
                          <a:ext uri="{FF2B5EF4-FFF2-40B4-BE49-F238E27FC236}">
                            <a16:creationId xmlns:a16="http://schemas.microsoft.com/office/drawing/2014/main" id="{F8E1ADAF-78DD-5D4E-8C31-F993DBAD59C1}"/>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9" name="Title 1"/>
          <p:cNvSpPr>
            <a:spLocks noGrp="1"/>
          </p:cNvSpPr>
          <p:nvPr>
            <p:ph type="ctrTitle" hasCustomPrompt="1"/>
          </p:nvPr>
        </p:nvSpPr>
        <p:spPr>
          <a:xfrm>
            <a:off x="448437" y="1764792"/>
            <a:ext cx="9365488" cy="1600200"/>
          </a:xfrm>
        </p:spPr>
        <p:txBody>
          <a:bodyPr vert="horz"/>
          <a:lstStyle>
            <a:lvl1pPr>
              <a:lnSpc>
                <a:spcPct val="90000"/>
              </a:lnSpc>
              <a:defRPr lang="en-US" sz="6000" b="1" i="0" kern="1200" cap="all" baseline="0" dirty="0">
                <a:solidFill>
                  <a:schemeClr val="bg1"/>
                </a:solidFill>
                <a:latin typeface="Arial Narrow" panose="020B0604020202020204" pitchFamily="34" charset="0"/>
                <a:ea typeface="+mj-ea"/>
                <a:cs typeface="Arial Narrow" panose="020B0604020202020204" pitchFamily="34" charset="0"/>
              </a:defRPr>
            </a:lvl1pPr>
          </a:lstStyle>
          <a:p>
            <a:r>
              <a:rPr lang="en-US" dirty="0"/>
              <a:t>This is a placeholder </a:t>
            </a:r>
            <a:br>
              <a:rPr lang="en-US" dirty="0"/>
            </a:br>
            <a:r>
              <a:rPr lang="en-US" dirty="0"/>
              <a:t>for main title</a:t>
            </a:r>
          </a:p>
        </p:txBody>
      </p:sp>
      <p:sp>
        <p:nvSpPr>
          <p:cNvPr id="10" name="Subtitle 2"/>
          <p:cNvSpPr>
            <a:spLocks noGrp="1"/>
          </p:cNvSpPr>
          <p:nvPr>
            <p:ph type="subTitle" idx="1" hasCustomPrompt="1"/>
          </p:nvPr>
        </p:nvSpPr>
        <p:spPr>
          <a:xfrm>
            <a:off x="462026" y="3557016"/>
            <a:ext cx="9310624" cy="788377"/>
          </a:xfrm>
        </p:spPr>
        <p:txBody>
          <a:bodyPr anchor="t"/>
          <a:lstStyle>
            <a:lvl1pPr marL="0" indent="0" algn="l">
              <a:buNone/>
              <a:defRPr sz="24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 goes here</a:t>
            </a:r>
          </a:p>
        </p:txBody>
      </p:sp>
      <p:sp>
        <p:nvSpPr>
          <p:cNvPr id="15" name="Text Placeholder 3">
            <a:extLst>
              <a:ext uri="{FF2B5EF4-FFF2-40B4-BE49-F238E27FC236}">
                <a16:creationId xmlns:a16="http://schemas.microsoft.com/office/drawing/2014/main" id="{376AD702-0276-0141-A183-937FB3505BA2}"/>
              </a:ext>
            </a:extLst>
          </p:cNvPr>
          <p:cNvSpPr>
            <a:spLocks noGrp="1"/>
          </p:cNvSpPr>
          <p:nvPr>
            <p:ph type="body" sz="half" idx="2" hasCustomPrompt="1"/>
          </p:nvPr>
        </p:nvSpPr>
        <p:spPr>
          <a:xfrm>
            <a:off x="485775" y="4870889"/>
            <a:ext cx="7400925" cy="1038525"/>
          </a:xfrm>
        </p:spPr>
        <p:txBody>
          <a:bodyPr anchor="b" anchorCtr="0"/>
          <a:lstStyle>
            <a:lvl1pPr marL="0" marR="0" indent="0" algn="l" defTabSz="457200" rtl="0" eaLnBrk="1" fontAlgn="auto" latinLnBrk="0" hangingPunct="1">
              <a:lnSpc>
                <a:spcPct val="100000"/>
              </a:lnSpc>
              <a:spcBef>
                <a:spcPts val="0"/>
              </a:spcBef>
              <a:spcAft>
                <a:spcPts val="0"/>
              </a:spcAft>
              <a:buClrTx/>
              <a:buSzTx/>
              <a:buFont typeface="Arial"/>
              <a:buNone/>
              <a:tabLst/>
              <a:defRPr lang="en-US" sz="1400">
                <a:solidFill>
                  <a:schemeClr val="bg1"/>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dirty="0">
                <a:effectLst/>
                <a:latin typeface="Arial" panose="020B0604020202020204" pitchFamily="34" charset="0"/>
              </a:rPr>
              <a:t>Client name (optional)</a:t>
            </a:r>
            <a:br>
              <a:rPr lang="en-US" dirty="0">
                <a:effectLst/>
                <a:latin typeface="Arial" panose="020B0604020202020204" pitchFamily="34" charset="0"/>
              </a:rPr>
            </a:br>
            <a:r>
              <a:rPr lang="en-US" dirty="0">
                <a:effectLst/>
                <a:latin typeface="Arial" panose="020B0604020202020204" pitchFamily="34" charset="0"/>
              </a:rPr>
              <a:t>Month 00, 20XX</a:t>
            </a:r>
            <a:br>
              <a:rPr lang="en-US" dirty="0">
                <a:effectLst/>
                <a:latin typeface="Arial" panose="020B0604020202020204" pitchFamily="34" charset="0"/>
              </a:rPr>
            </a:br>
            <a:r>
              <a:rPr lang="en-US" dirty="0">
                <a:effectLst/>
                <a:latin typeface="Arial" panose="020B0604020202020204" pitchFamily="34" charset="0"/>
              </a:rPr>
              <a:t>Presenter1, Job Title, location  |  Presenter2, Job Title, location</a:t>
            </a:r>
            <a:br>
              <a:rPr lang="en-US" dirty="0">
                <a:effectLst/>
                <a:latin typeface="Arial" panose="020B0604020202020204" pitchFamily="34" charset="0"/>
              </a:rPr>
            </a:br>
            <a:r>
              <a:rPr lang="en-US" dirty="0">
                <a:effectLst/>
                <a:latin typeface="Arial" panose="020B0604020202020204" pitchFamily="34" charset="0"/>
              </a:rPr>
              <a:t/>
            </a:r>
            <a:br>
              <a:rPr lang="en-US" dirty="0">
                <a:effectLst/>
                <a:latin typeface="Arial" panose="020B0604020202020204" pitchFamily="34" charset="0"/>
              </a:rPr>
            </a:br>
            <a:r>
              <a:rPr lang="en-US" dirty="0">
                <a:effectLst/>
                <a:latin typeface="Arial" panose="020B0604020202020204" pitchFamily="34" charset="0"/>
              </a:rPr>
              <a:t>Tagline (optional)</a:t>
            </a:r>
          </a:p>
        </p:txBody>
      </p:sp>
      <p:sp>
        <p:nvSpPr>
          <p:cNvPr id="16" name="Rectangle 15">
            <a:extLst>
              <a:ext uri="{FF2B5EF4-FFF2-40B4-BE49-F238E27FC236}">
                <a16:creationId xmlns:a16="http://schemas.microsoft.com/office/drawing/2014/main" id="{F0B5321B-5321-A64E-90E9-3AC4B69C0ADD}"/>
              </a:ext>
            </a:extLst>
          </p:cNvPr>
          <p:cNvSpPr/>
          <p:nvPr userDrawn="1"/>
        </p:nvSpPr>
        <p:spPr>
          <a:xfrm>
            <a:off x="485775" y="6257135"/>
            <a:ext cx="1785745" cy="153888"/>
          </a:xfrm>
          <a:prstGeom prst="rect">
            <a:avLst/>
          </a:prstGeom>
        </p:spPr>
        <p:txBody>
          <a:bodyPr wrap="none" lIns="0" tIns="0" rIns="0" bIns="0">
            <a:spAutoFit/>
          </a:bodyPr>
          <a:lstStyle/>
          <a:p>
            <a:r>
              <a:rPr lang="en-US" sz="1000" dirty="0">
                <a:solidFill>
                  <a:schemeClr val="bg1"/>
                </a:solidFill>
                <a:effectLst/>
                <a:latin typeface="Arial" panose="020B0604020202020204" pitchFamily="34" charset="0"/>
              </a:rPr>
              <a:t>A business of Marsh McLennan</a:t>
            </a:r>
            <a:endParaRPr lang="en-US" sz="1000" dirty="0">
              <a:solidFill>
                <a:schemeClr val="bg1"/>
              </a:solidFill>
            </a:endParaRPr>
          </a:p>
        </p:txBody>
      </p:sp>
      <p:sp>
        <p:nvSpPr>
          <p:cNvPr id="17" name="Picture Placeholder 5">
            <a:extLst>
              <a:ext uri="{FF2B5EF4-FFF2-40B4-BE49-F238E27FC236}">
                <a16:creationId xmlns:a16="http://schemas.microsoft.com/office/drawing/2014/main" id="{2929EB37-3AE6-8A4E-BF4E-DB8B5DE61D2A}"/>
              </a:ext>
            </a:extLst>
          </p:cNvPr>
          <p:cNvSpPr>
            <a:spLocks noGrp="1" noChangeAspect="1"/>
          </p:cNvSpPr>
          <p:nvPr>
            <p:ph type="pic" sz="quarter" idx="11" hasCustomPrompt="1"/>
          </p:nvPr>
        </p:nvSpPr>
        <p:spPr>
          <a:xfrm>
            <a:off x="8707120" y="361951"/>
            <a:ext cx="3002280" cy="338459"/>
          </a:xfrm>
          <a:noFill/>
        </p:spPr>
        <p:txBody>
          <a:bodyPr anchor="t" anchorCtr="0"/>
          <a:lstStyle>
            <a:lvl1pPr algn="r">
              <a:defRPr sz="1000">
                <a:solidFill>
                  <a:srgbClr val="FF0000"/>
                </a:solidFill>
              </a:defRPr>
            </a:lvl1pPr>
          </a:lstStyle>
          <a:p>
            <a:r>
              <a:rPr lang="en-US" dirty="0" smtClean="0"/>
              <a:t>Placeholder for a third party or a client logo if needed.</a:t>
            </a:r>
            <a:br>
              <a:rPr lang="en-US" dirty="0" smtClean="0"/>
            </a:br>
            <a:endParaRPr lang="en-US" dirty="0" smtClean="0"/>
          </a:p>
        </p:txBody>
      </p:sp>
      <p:sp>
        <p:nvSpPr>
          <p:cNvPr id="18" name="Text Placeholder 7"/>
          <p:cNvSpPr>
            <a:spLocks noGrp="1"/>
          </p:cNvSpPr>
          <p:nvPr>
            <p:ph type="body" sz="quarter" idx="13" hasCustomPrompt="1"/>
          </p:nvPr>
        </p:nvSpPr>
        <p:spPr>
          <a:xfrm>
            <a:off x="8707120" y="1081847"/>
            <a:ext cx="2875280" cy="639323"/>
          </a:xfrm>
          <a:solidFill>
            <a:schemeClr val="bg1"/>
          </a:solidFill>
        </p:spPr>
        <p:txBody>
          <a:bodyPr/>
          <a:lstStyle>
            <a:lvl1pPr>
              <a:defRPr sz="1000" baseline="0">
                <a:solidFill>
                  <a:srgbClr val="FF0000"/>
                </a:solidFill>
              </a:defRPr>
            </a:lvl1pPr>
          </a:lstStyle>
          <a:p>
            <a:pPr lvl="0"/>
            <a:r>
              <a:rPr lang="en-US" dirty="0" smtClean="0"/>
              <a:t>Zoom in on placeholder until image icon appears. Click icon to insert your image. Once inserted, go to Format tab &gt; click Crop &gt; select “Fit”. Size up as needed if you have a vertical or square logo.  </a:t>
            </a:r>
          </a:p>
        </p:txBody>
      </p:sp>
      <p:sp>
        <p:nvSpPr>
          <p:cNvPr id="19" name="Text Placeholder 7"/>
          <p:cNvSpPr>
            <a:spLocks noGrp="1"/>
          </p:cNvSpPr>
          <p:nvPr>
            <p:ph type="body" sz="quarter" idx="14" hasCustomPrompt="1"/>
          </p:nvPr>
        </p:nvSpPr>
        <p:spPr>
          <a:xfrm>
            <a:off x="8648065" y="744032"/>
            <a:ext cx="213995" cy="288666"/>
          </a:xfrm>
          <a:prstGeom prst="upArrow">
            <a:avLst>
              <a:gd name="adj1" fmla="val 33976"/>
              <a:gd name="adj2" fmla="val 50000"/>
            </a:avLst>
          </a:prstGeom>
          <a:solidFill>
            <a:srgbClr val="FF0000"/>
          </a:solidFill>
        </p:spPr>
        <p:txBody>
          <a:bodyPr/>
          <a:lstStyle>
            <a:lvl1pPr>
              <a:defRPr sz="1000" baseline="0">
                <a:solidFill>
                  <a:srgbClr val="FF0000"/>
                </a:solidFill>
              </a:defRPr>
            </a:lvl1pPr>
          </a:lstStyle>
          <a:p>
            <a:pPr lvl="0"/>
            <a:r>
              <a:rPr lang="en-US" dirty="0" smtClean="0"/>
              <a:t> </a:t>
            </a:r>
          </a:p>
        </p:txBody>
      </p:sp>
      <p:sp>
        <p:nvSpPr>
          <p:cNvPr id="20" name="Text Placeholder 7"/>
          <p:cNvSpPr>
            <a:spLocks noGrp="1"/>
          </p:cNvSpPr>
          <p:nvPr>
            <p:ph type="body" sz="quarter" idx="15" hasCustomPrompt="1"/>
          </p:nvPr>
        </p:nvSpPr>
        <p:spPr>
          <a:xfrm>
            <a:off x="448437" y="816206"/>
            <a:ext cx="6288030" cy="752691"/>
          </a:xfrm>
          <a:solidFill>
            <a:schemeClr val="bg1"/>
          </a:solidFill>
        </p:spPr>
        <p:txBody>
          <a:bodyPr/>
          <a:lstStyle>
            <a:lvl1pPr>
              <a:spcAft>
                <a:spcPts val="0"/>
              </a:spcAft>
              <a:defRPr sz="1400" b="1" baseline="0">
                <a:solidFill>
                  <a:srgbClr val="FF0000"/>
                </a:solidFill>
              </a:defRPr>
            </a:lvl1pPr>
          </a:lstStyle>
          <a:p>
            <a:pPr lvl="0"/>
            <a:r>
              <a:rPr lang="en-US" dirty="0" smtClean="0"/>
              <a:t>Note: If using a third party or client logo, it needs to have a transparent background and have enough contrast against the background (preferably white). Please visit logo library on Global Sales SharePoint site. </a:t>
            </a:r>
          </a:p>
        </p:txBody>
      </p:sp>
      <p:pic>
        <p:nvPicPr>
          <p:cNvPr id="21" name="Picture 2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485775" y="342901"/>
            <a:ext cx="3078486" cy="341377"/>
          </a:xfrm>
          <a:prstGeom prst="rect">
            <a:avLst/>
          </a:prstGeom>
        </p:spPr>
      </p:pic>
    </p:spTree>
    <p:extLst>
      <p:ext uri="{BB962C8B-B14F-4D97-AF65-F5344CB8AC3E}">
        <p14:creationId xmlns:p14="http://schemas.microsoft.com/office/powerpoint/2010/main" val="285937437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itle slide A: dark imag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8E1ADAF-78DD-5D4E-8C31-F993DBAD59C1}"/>
              </a:ext>
            </a:extLst>
          </p:cNvPr>
          <p:cNvGraphicFramePr>
            <a:graphicFrameLocks noChangeAspect="1"/>
          </p:cNvGraphicFramePr>
          <p:nvPr>
            <p:custDataLst>
              <p:tags r:id="rId2"/>
            </p:custDataLst>
            <p:extLst>
              <p:ext uri="{D42A27DB-BD31-4B8C-83A1-F6EECF244321}">
                <p14:modId xmlns:p14="http://schemas.microsoft.com/office/powerpoint/2010/main" val="419841396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41256"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F8E1ADAF-78DD-5D4E-8C31-F993DBAD59C1}"/>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8" name="Picture Placeholder 73">
            <a:extLst>
              <a:ext uri="{FF2B5EF4-FFF2-40B4-BE49-F238E27FC236}">
                <a16:creationId xmlns:a16="http://schemas.microsoft.com/office/drawing/2014/main" id="{73319BE5-0EF3-DD4B-B826-A8E9F0755285}"/>
              </a:ext>
            </a:extLst>
          </p:cNvPr>
          <p:cNvSpPr>
            <a:spLocks noGrp="1"/>
          </p:cNvSpPr>
          <p:nvPr>
            <p:ph type="pic" sz="quarter" idx="10" hasCustomPrompt="1"/>
          </p:nvPr>
        </p:nvSpPr>
        <p:spPr>
          <a:xfrm>
            <a:off x="0" y="0"/>
            <a:ext cx="12191998" cy="6858000"/>
          </a:xfrm>
          <a:custGeom>
            <a:avLst/>
            <a:gdLst>
              <a:gd name="connsiteX0" fmla="*/ 2154181 w 12191998"/>
              <a:gd name="connsiteY0" fmla="*/ 6348734 h 6858000"/>
              <a:gd name="connsiteX1" fmla="*/ 2154181 w 12191998"/>
              <a:gd name="connsiteY1" fmla="*/ 6352725 h 6858000"/>
              <a:gd name="connsiteX2" fmla="*/ 2152427 w 12191998"/>
              <a:gd name="connsiteY2" fmla="*/ 6363608 h 6858000"/>
              <a:gd name="connsiteX3" fmla="*/ 2145232 w 12191998"/>
              <a:gd name="connsiteY3" fmla="*/ 6371135 h 6858000"/>
              <a:gd name="connsiteX4" fmla="*/ 2134047 w 12191998"/>
              <a:gd name="connsiteY4" fmla="*/ 6373886 h 6858000"/>
              <a:gd name="connsiteX5" fmla="*/ 2124403 w 12191998"/>
              <a:gd name="connsiteY5" fmla="*/ 6370984 h 6858000"/>
              <a:gd name="connsiteX6" fmla="*/ 2121108 w 12191998"/>
              <a:gd name="connsiteY6" fmla="*/ 6363729 h 6858000"/>
              <a:gd name="connsiteX7" fmla="*/ 2122620 w 12191998"/>
              <a:gd name="connsiteY7" fmla="*/ 6358559 h 6858000"/>
              <a:gd name="connsiteX8" fmla="*/ 2126912 w 12191998"/>
              <a:gd name="connsiteY8" fmla="*/ 6355022 h 6858000"/>
              <a:gd name="connsiteX9" fmla="*/ 2136405 w 12191998"/>
              <a:gd name="connsiteY9" fmla="*/ 6352846 h 6858000"/>
              <a:gd name="connsiteX10" fmla="*/ 2154181 w 12191998"/>
              <a:gd name="connsiteY10" fmla="*/ 6348734 h 6858000"/>
              <a:gd name="connsiteX11" fmla="*/ 1430280 w 12191998"/>
              <a:gd name="connsiteY11" fmla="*/ 6348734 h 6858000"/>
              <a:gd name="connsiteX12" fmla="*/ 1430280 w 12191998"/>
              <a:gd name="connsiteY12" fmla="*/ 6352725 h 6858000"/>
              <a:gd name="connsiteX13" fmla="*/ 1428527 w 12191998"/>
              <a:gd name="connsiteY13" fmla="*/ 6363608 h 6858000"/>
              <a:gd name="connsiteX14" fmla="*/ 1421332 w 12191998"/>
              <a:gd name="connsiteY14" fmla="*/ 6371135 h 6858000"/>
              <a:gd name="connsiteX15" fmla="*/ 1410147 w 12191998"/>
              <a:gd name="connsiteY15" fmla="*/ 6373886 h 6858000"/>
              <a:gd name="connsiteX16" fmla="*/ 1400503 w 12191998"/>
              <a:gd name="connsiteY16" fmla="*/ 6370984 h 6858000"/>
              <a:gd name="connsiteX17" fmla="*/ 1397208 w 12191998"/>
              <a:gd name="connsiteY17" fmla="*/ 6363729 h 6858000"/>
              <a:gd name="connsiteX18" fmla="*/ 1398720 w 12191998"/>
              <a:gd name="connsiteY18" fmla="*/ 6358559 h 6858000"/>
              <a:gd name="connsiteX19" fmla="*/ 1403012 w 12191998"/>
              <a:gd name="connsiteY19" fmla="*/ 6355022 h 6858000"/>
              <a:gd name="connsiteX20" fmla="*/ 1412505 w 12191998"/>
              <a:gd name="connsiteY20" fmla="*/ 6352846 h 6858000"/>
              <a:gd name="connsiteX21" fmla="*/ 1430280 w 12191998"/>
              <a:gd name="connsiteY21" fmla="*/ 6348734 h 6858000"/>
              <a:gd name="connsiteX22" fmla="*/ 1167697 w 12191998"/>
              <a:gd name="connsiteY22" fmla="*/ 6324308 h 6858000"/>
              <a:gd name="connsiteX23" fmla="*/ 1181149 w 12191998"/>
              <a:gd name="connsiteY23" fmla="*/ 6330445 h 6858000"/>
              <a:gd name="connsiteX24" fmla="*/ 1186560 w 12191998"/>
              <a:gd name="connsiteY24" fmla="*/ 6348492 h 6858000"/>
              <a:gd name="connsiteX25" fmla="*/ 1181179 w 12191998"/>
              <a:gd name="connsiteY25" fmla="*/ 6367296 h 6858000"/>
              <a:gd name="connsiteX26" fmla="*/ 1167697 w 12191998"/>
              <a:gd name="connsiteY26" fmla="*/ 6373463 h 6858000"/>
              <a:gd name="connsiteX27" fmla="*/ 1154153 w 12191998"/>
              <a:gd name="connsiteY27" fmla="*/ 6367326 h 6858000"/>
              <a:gd name="connsiteX28" fmla="*/ 1148772 w 12191998"/>
              <a:gd name="connsiteY28" fmla="*/ 6348855 h 6858000"/>
              <a:gd name="connsiteX29" fmla="*/ 1154153 w 12191998"/>
              <a:gd name="connsiteY29" fmla="*/ 6330414 h 6858000"/>
              <a:gd name="connsiteX30" fmla="*/ 1167697 w 12191998"/>
              <a:gd name="connsiteY30" fmla="*/ 6324308 h 6858000"/>
              <a:gd name="connsiteX31" fmla="*/ 1939645 w 12191998"/>
              <a:gd name="connsiteY31" fmla="*/ 6324247 h 6858000"/>
              <a:gd name="connsiteX32" fmla="*/ 1953128 w 12191998"/>
              <a:gd name="connsiteY32" fmla="*/ 6330535 h 6858000"/>
              <a:gd name="connsiteX33" fmla="*/ 1957239 w 12191998"/>
              <a:gd name="connsiteY33" fmla="*/ 6342688 h 6858000"/>
              <a:gd name="connsiteX34" fmla="*/ 1921386 w 12191998"/>
              <a:gd name="connsiteY34" fmla="*/ 6342688 h 6858000"/>
              <a:gd name="connsiteX35" fmla="*/ 1927039 w 12191998"/>
              <a:gd name="connsiteY35" fmla="*/ 6329266 h 6858000"/>
              <a:gd name="connsiteX36" fmla="*/ 1939645 w 12191998"/>
              <a:gd name="connsiteY36" fmla="*/ 6324247 h 6858000"/>
              <a:gd name="connsiteX37" fmla="*/ 929995 w 12191998"/>
              <a:gd name="connsiteY37" fmla="*/ 6324247 h 6858000"/>
              <a:gd name="connsiteX38" fmla="*/ 943478 w 12191998"/>
              <a:gd name="connsiteY38" fmla="*/ 6330535 h 6858000"/>
              <a:gd name="connsiteX39" fmla="*/ 947589 w 12191998"/>
              <a:gd name="connsiteY39" fmla="*/ 6342688 h 6858000"/>
              <a:gd name="connsiteX40" fmla="*/ 911735 w 12191998"/>
              <a:gd name="connsiteY40" fmla="*/ 6342688 h 6858000"/>
              <a:gd name="connsiteX41" fmla="*/ 917388 w 12191998"/>
              <a:gd name="connsiteY41" fmla="*/ 6329266 h 6858000"/>
              <a:gd name="connsiteX42" fmla="*/ 929995 w 12191998"/>
              <a:gd name="connsiteY42" fmla="*/ 6324247 h 6858000"/>
              <a:gd name="connsiteX43" fmla="*/ 635687 w 12191998"/>
              <a:gd name="connsiteY43" fmla="*/ 6324247 h 6858000"/>
              <a:gd name="connsiteX44" fmla="*/ 647749 w 12191998"/>
              <a:gd name="connsiteY44" fmla="*/ 6330233 h 6858000"/>
              <a:gd name="connsiteX45" fmla="*/ 652737 w 12191998"/>
              <a:gd name="connsiteY45" fmla="*/ 6348795 h 6858000"/>
              <a:gd name="connsiteX46" fmla="*/ 647537 w 12191998"/>
              <a:gd name="connsiteY46" fmla="*/ 6367266 h 6858000"/>
              <a:gd name="connsiteX47" fmla="*/ 635203 w 12191998"/>
              <a:gd name="connsiteY47" fmla="*/ 6373463 h 6858000"/>
              <a:gd name="connsiteX48" fmla="*/ 621297 w 12191998"/>
              <a:gd name="connsiteY48" fmla="*/ 6365059 h 6858000"/>
              <a:gd name="connsiteX49" fmla="*/ 618153 w 12191998"/>
              <a:gd name="connsiteY49" fmla="*/ 6348372 h 6858000"/>
              <a:gd name="connsiteX50" fmla="*/ 623353 w 12191998"/>
              <a:gd name="connsiteY50" fmla="*/ 6330445 h 6858000"/>
              <a:gd name="connsiteX51" fmla="*/ 635687 w 12191998"/>
              <a:gd name="connsiteY51" fmla="*/ 6324247 h 6858000"/>
              <a:gd name="connsiteX52" fmla="*/ 808323 w 12191998"/>
              <a:gd name="connsiteY52" fmla="*/ 6316750 h 6858000"/>
              <a:gd name="connsiteX53" fmla="*/ 808323 w 12191998"/>
              <a:gd name="connsiteY53" fmla="*/ 6380960 h 6858000"/>
              <a:gd name="connsiteX54" fmla="*/ 819206 w 12191998"/>
              <a:gd name="connsiteY54" fmla="*/ 6380960 h 6858000"/>
              <a:gd name="connsiteX55" fmla="*/ 819206 w 12191998"/>
              <a:gd name="connsiteY55" fmla="*/ 6316750 h 6858000"/>
              <a:gd name="connsiteX56" fmla="*/ 674671 w 12191998"/>
              <a:gd name="connsiteY56" fmla="*/ 6316750 h 6858000"/>
              <a:gd name="connsiteX57" fmla="*/ 674671 w 12191998"/>
              <a:gd name="connsiteY57" fmla="*/ 6356534 h 6858000"/>
              <a:gd name="connsiteX58" fmla="*/ 675336 w 12191998"/>
              <a:gd name="connsiteY58" fmla="*/ 6366691 h 6858000"/>
              <a:gd name="connsiteX59" fmla="*/ 678691 w 12191998"/>
              <a:gd name="connsiteY59" fmla="*/ 6374763 h 6858000"/>
              <a:gd name="connsiteX60" fmla="*/ 686007 w 12191998"/>
              <a:gd name="connsiteY60" fmla="*/ 6380235 h 6858000"/>
              <a:gd name="connsiteX61" fmla="*/ 696618 w 12191998"/>
              <a:gd name="connsiteY61" fmla="*/ 6382411 h 6858000"/>
              <a:gd name="connsiteX62" fmla="*/ 716994 w 12191998"/>
              <a:gd name="connsiteY62" fmla="*/ 6371528 h 6858000"/>
              <a:gd name="connsiteX63" fmla="*/ 716994 w 12191998"/>
              <a:gd name="connsiteY63" fmla="*/ 6380960 h 6858000"/>
              <a:gd name="connsiteX64" fmla="*/ 726728 w 12191998"/>
              <a:gd name="connsiteY64" fmla="*/ 6380960 h 6858000"/>
              <a:gd name="connsiteX65" fmla="*/ 726728 w 12191998"/>
              <a:gd name="connsiteY65" fmla="*/ 6316750 h 6858000"/>
              <a:gd name="connsiteX66" fmla="*/ 715845 w 12191998"/>
              <a:gd name="connsiteY66" fmla="*/ 6316750 h 6858000"/>
              <a:gd name="connsiteX67" fmla="*/ 715845 w 12191998"/>
              <a:gd name="connsiteY67" fmla="*/ 6351153 h 6858000"/>
              <a:gd name="connsiteX68" fmla="*/ 714061 w 12191998"/>
              <a:gd name="connsiteY68" fmla="*/ 6363699 h 6858000"/>
              <a:gd name="connsiteX69" fmla="*/ 707985 w 12191998"/>
              <a:gd name="connsiteY69" fmla="*/ 6370531 h 6858000"/>
              <a:gd name="connsiteX70" fmla="*/ 698795 w 12191998"/>
              <a:gd name="connsiteY70" fmla="*/ 6373040 h 6858000"/>
              <a:gd name="connsiteX71" fmla="*/ 690572 w 12191998"/>
              <a:gd name="connsiteY71" fmla="*/ 6370591 h 6858000"/>
              <a:gd name="connsiteX72" fmla="*/ 686219 w 12191998"/>
              <a:gd name="connsiteY72" fmla="*/ 6363850 h 6858000"/>
              <a:gd name="connsiteX73" fmla="*/ 685554 w 12191998"/>
              <a:gd name="connsiteY73" fmla="*/ 6352362 h 6858000"/>
              <a:gd name="connsiteX74" fmla="*/ 685554 w 12191998"/>
              <a:gd name="connsiteY74" fmla="*/ 6316750 h 6858000"/>
              <a:gd name="connsiteX75" fmla="*/ 2210093 w 12191998"/>
              <a:gd name="connsiteY75" fmla="*/ 6315299 h 6858000"/>
              <a:gd name="connsiteX76" fmla="*/ 2189658 w 12191998"/>
              <a:gd name="connsiteY76" fmla="*/ 6325880 h 6858000"/>
              <a:gd name="connsiteX77" fmla="*/ 2189658 w 12191998"/>
              <a:gd name="connsiteY77" fmla="*/ 6316750 h 6858000"/>
              <a:gd name="connsiteX78" fmla="*/ 2179863 w 12191998"/>
              <a:gd name="connsiteY78" fmla="*/ 6316750 h 6858000"/>
              <a:gd name="connsiteX79" fmla="*/ 2179863 w 12191998"/>
              <a:gd name="connsiteY79" fmla="*/ 6380960 h 6858000"/>
              <a:gd name="connsiteX80" fmla="*/ 2190746 w 12191998"/>
              <a:gd name="connsiteY80" fmla="*/ 6380960 h 6858000"/>
              <a:gd name="connsiteX81" fmla="*/ 2190746 w 12191998"/>
              <a:gd name="connsiteY81" fmla="*/ 6345893 h 6858000"/>
              <a:gd name="connsiteX82" fmla="*/ 2195794 w 12191998"/>
              <a:gd name="connsiteY82" fmla="*/ 6329145 h 6858000"/>
              <a:gd name="connsiteX83" fmla="*/ 2207796 w 12191998"/>
              <a:gd name="connsiteY83" fmla="*/ 6324731 h 6858000"/>
              <a:gd name="connsiteX84" fmla="*/ 2215384 w 12191998"/>
              <a:gd name="connsiteY84" fmla="*/ 6326696 h 6858000"/>
              <a:gd name="connsiteX85" fmla="*/ 2219888 w 12191998"/>
              <a:gd name="connsiteY85" fmla="*/ 6331956 h 6858000"/>
              <a:gd name="connsiteX86" fmla="*/ 2221158 w 12191998"/>
              <a:gd name="connsiteY86" fmla="*/ 6341902 h 6858000"/>
              <a:gd name="connsiteX87" fmla="*/ 2221158 w 12191998"/>
              <a:gd name="connsiteY87" fmla="*/ 6380960 h 6858000"/>
              <a:gd name="connsiteX88" fmla="*/ 2232041 w 12191998"/>
              <a:gd name="connsiteY88" fmla="*/ 6380960 h 6858000"/>
              <a:gd name="connsiteX89" fmla="*/ 2232041 w 12191998"/>
              <a:gd name="connsiteY89" fmla="*/ 6341479 h 6858000"/>
              <a:gd name="connsiteX90" fmla="*/ 2231436 w 12191998"/>
              <a:gd name="connsiteY90" fmla="*/ 6330898 h 6858000"/>
              <a:gd name="connsiteX91" fmla="*/ 2228051 w 12191998"/>
              <a:gd name="connsiteY91" fmla="*/ 6322857 h 6858000"/>
              <a:gd name="connsiteX92" fmla="*/ 2220765 w 12191998"/>
              <a:gd name="connsiteY92" fmla="*/ 6317385 h 6858000"/>
              <a:gd name="connsiteX93" fmla="*/ 2210093 w 12191998"/>
              <a:gd name="connsiteY93" fmla="*/ 6315299 h 6858000"/>
              <a:gd name="connsiteX94" fmla="*/ 2140335 w 12191998"/>
              <a:gd name="connsiteY94" fmla="*/ 6315299 h 6858000"/>
              <a:gd name="connsiteX95" fmla="*/ 2125764 w 12191998"/>
              <a:gd name="connsiteY95" fmla="*/ 6317566 h 6858000"/>
              <a:gd name="connsiteX96" fmla="*/ 2116150 w 12191998"/>
              <a:gd name="connsiteY96" fmla="*/ 6324036 h 6858000"/>
              <a:gd name="connsiteX97" fmla="*/ 2111374 w 12191998"/>
              <a:gd name="connsiteY97" fmla="*/ 6335070 h 6858000"/>
              <a:gd name="connsiteX98" fmla="*/ 2122015 w 12191998"/>
              <a:gd name="connsiteY98" fmla="*/ 6336521 h 6858000"/>
              <a:gd name="connsiteX99" fmla="*/ 2127426 w 12191998"/>
              <a:gd name="connsiteY99" fmla="*/ 6326998 h 6858000"/>
              <a:gd name="connsiteX100" fmla="*/ 2138763 w 12191998"/>
              <a:gd name="connsiteY100" fmla="*/ 6324308 h 6858000"/>
              <a:gd name="connsiteX101" fmla="*/ 2151158 w 12191998"/>
              <a:gd name="connsiteY101" fmla="*/ 6327996 h 6858000"/>
              <a:gd name="connsiteX102" fmla="*/ 2154241 w 12191998"/>
              <a:gd name="connsiteY102" fmla="*/ 6337368 h 6858000"/>
              <a:gd name="connsiteX103" fmla="*/ 2154181 w 12191998"/>
              <a:gd name="connsiteY103" fmla="*/ 6340209 h 6858000"/>
              <a:gd name="connsiteX104" fmla="*/ 2134772 w 12191998"/>
              <a:gd name="connsiteY104" fmla="*/ 6343958 h 6858000"/>
              <a:gd name="connsiteX105" fmla="*/ 2125099 w 12191998"/>
              <a:gd name="connsiteY105" fmla="*/ 6345590 h 6858000"/>
              <a:gd name="connsiteX106" fmla="*/ 2117269 w 12191998"/>
              <a:gd name="connsiteY106" fmla="*/ 6349158 h 6858000"/>
              <a:gd name="connsiteX107" fmla="*/ 2111646 w 12191998"/>
              <a:gd name="connsiteY107" fmla="*/ 6355415 h 6858000"/>
              <a:gd name="connsiteX108" fmla="*/ 2109499 w 12191998"/>
              <a:gd name="connsiteY108" fmla="*/ 6364031 h 6858000"/>
              <a:gd name="connsiteX109" fmla="*/ 2115183 w 12191998"/>
              <a:gd name="connsiteY109" fmla="*/ 6377242 h 6858000"/>
              <a:gd name="connsiteX110" fmla="*/ 2131447 w 12191998"/>
              <a:gd name="connsiteY110" fmla="*/ 6382411 h 6858000"/>
              <a:gd name="connsiteX111" fmla="*/ 2143449 w 12191998"/>
              <a:gd name="connsiteY111" fmla="*/ 6380295 h 6858000"/>
              <a:gd name="connsiteX112" fmla="*/ 2155088 w 12191998"/>
              <a:gd name="connsiteY112" fmla="*/ 6373040 h 6858000"/>
              <a:gd name="connsiteX113" fmla="*/ 2157264 w 12191998"/>
              <a:gd name="connsiteY113" fmla="*/ 6380960 h 6858000"/>
              <a:gd name="connsiteX114" fmla="*/ 2168631 w 12191998"/>
              <a:gd name="connsiteY114" fmla="*/ 6380960 h 6858000"/>
              <a:gd name="connsiteX115" fmla="*/ 2165880 w 12191998"/>
              <a:gd name="connsiteY115" fmla="*/ 6373251 h 6858000"/>
              <a:gd name="connsiteX116" fmla="*/ 2165184 w 12191998"/>
              <a:gd name="connsiteY116" fmla="*/ 6354055 h 6858000"/>
              <a:gd name="connsiteX117" fmla="*/ 2165184 w 12191998"/>
              <a:gd name="connsiteY117" fmla="*/ 6339544 h 6858000"/>
              <a:gd name="connsiteX118" fmla="*/ 2164640 w 12191998"/>
              <a:gd name="connsiteY118" fmla="*/ 6329508 h 6858000"/>
              <a:gd name="connsiteX119" fmla="*/ 2161254 w 12191998"/>
              <a:gd name="connsiteY119" fmla="*/ 6322101 h 6858000"/>
              <a:gd name="connsiteX120" fmla="*/ 2153697 w 12191998"/>
              <a:gd name="connsiteY120" fmla="*/ 6317234 h 6858000"/>
              <a:gd name="connsiteX121" fmla="*/ 2140335 w 12191998"/>
              <a:gd name="connsiteY121" fmla="*/ 6315299 h 6858000"/>
              <a:gd name="connsiteX122" fmla="*/ 2076743 w 12191998"/>
              <a:gd name="connsiteY122" fmla="*/ 6315299 h 6858000"/>
              <a:gd name="connsiteX123" fmla="*/ 2056308 w 12191998"/>
              <a:gd name="connsiteY123" fmla="*/ 6325880 h 6858000"/>
              <a:gd name="connsiteX124" fmla="*/ 2056308 w 12191998"/>
              <a:gd name="connsiteY124" fmla="*/ 6316750 h 6858000"/>
              <a:gd name="connsiteX125" fmla="*/ 2046513 w 12191998"/>
              <a:gd name="connsiteY125" fmla="*/ 6316750 h 6858000"/>
              <a:gd name="connsiteX126" fmla="*/ 2046513 w 12191998"/>
              <a:gd name="connsiteY126" fmla="*/ 6380960 h 6858000"/>
              <a:gd name="connsiteX127" fmla="*/ 2057396 w 12191998"/>
              <a:gd name="connsiteY127" fmla="*/ 6380960 h 6858000"/>
              <a:gd name="connsiteX128" fmla="*/ 2057396 w 12191998"/>
              <a:gd name="connsiteY128" fmla="*/ 6345893 h 6858000"/>
              <a:gd name="connsiteX129" fmla="*/ 2062444 w 12191998"/>
              <a:gd name="connsiteY129" fmla="*/ 6329145 h 6858000"/>
              <a:gd name="connsiteX130" fmla="*/ 2074446 w 12191998"/>
              <a:gd name="connsiteY130" fmla="*/ 6324731 h 6858000"/>
              <a:gd name="connsiteX131" fmla="*/ 2082034 w 12191998"/>
              <a:gd name="connsiteY131" fmla="*/ 6326696 h 6858000"/>
              <a:gd name="connsiteX132" fmla="*/ 2086538 w 12191998"/>
              <a:gd name="connsiteY132" fmla="*/ 6331956 h 6858000"/>
              <a:gd name="connsiteX133" fmla="*/ 2087808 w 12191998"/>
              <a:gd name="connsiteY133" fmla="*/ 6341902 h 6858000"/>
              <a:gd name="connsiteX134" fmla="*/ 2087808 w 12191998"/>
              <a:gd name="connsiteY134" fmla="*/ 6380960 h 6858000"/>
              <a:gd name="connsiteX135" fmla="*/ 2098691 w 12191998"/>
              <a:gd name="connsiteY135" fmla="*/ 6380960 h 6858000"/>
              <a:gd name="connsiteX136" fmla="*/ 2098691 w 12191998"/>
              <a:gd name="connsiteY136" fmla="*/ 6341479 h 6858000"/>
              <a:gd name="connsiteX137" fmla="*/ 2098086 w 12191998"/>
              <a:gd name="connsiteY137" fmla="*/ 6330898 h 6858000"/>
              <a:gd name="connsiteX138" fmla="*/ 2094701 w 12191998"/>
              <a:gd name="connsiteY138" fmla="*/ 6322857 h 6858000"/>
              <a:gd name="connsiteX139" fmla="*/ 2087415 w 12191998"/>
              <a:gd name="connsiteY139" fmla="*/ 6317385 h 6858000"/>
              <a:gd name="connsiteX140" fmla="*/ 2076743 w 12191998"/>
              <a:gd name="connsiteY140" fmla="*/ 6315299 h 6858000"/>
              <a:gd name="connsiteX141" fmla="*/ 2010068 w 12191998"/>
              <a:gd name="connsiteY141" fmla="*/ 6315299 h 6858000"/>
              <a:gd name="connsiteX142" fmla="*/ 1989632 w 12191998"/>
              <a:gd name="connsiteY142" fmla="*/ 6325880 h 6858000"/>
              <a:gd name="connsiteX143" fmla="*/ 1989632 w 12191998"/>
              <a:gd name="connsiteY143" fmla="*/ 6316750 h 6858000"/>
              <a:gd name="connsiteX144" fmla="*/ 1979838 w 12191998"/>
              <a:gd name="connsiteY144" fmla="*/ 6316750 h 6858000"/>
              <a:gd name="connsiteX145" fmla="*/ 1979838 w 12191998"/>
              <a:gd name="connsiteY145" fmla="*/ 6380960 h 6858000"/>
              <a:gd name="connsiteX146" fmla="*/ 1990721 w 12191998"/>
              <a:gd name="connsiteY146" fmla="*/ 6380960 h 6858000"/>
              <a:gd name="connsiteX147" fmla="*/ 1990721 w 12191998"/>
              <a:gd name="connsiteY147" fmla="*/ 6345893 h 6858000"/>
              <a:gd name="connsiteX148" fmla="*/ 1995769 w 12191998"/>
              <a:gd name="connsiteY148" fmla="*/ 6329145 h 6858000"/>
              <a:gd name="connsiteX149" fmla="*/ 2007771 w 12191998"/>
              <a:gd name="connsiteY149" fmla="*/ 6324731 h 6858000"/>
              <a:gd name="connsiteX150" fmla="*/ 2015359 w 12191998"/>
              <a:gd name="connsiteY150" fmla="*/ 6326696 h 6858000"/>
              <a:gd name="connsiteX151" fmla="*/ 2019863 w 12191998"/>
              <a:gd name="connsiteY151" fmla="*/ 6331956 h 6858000"/>
              <a:gd name="connsiteX152" fmla="*/ 2021133 w 12191998"/>
              <a:gd name="connsiteY152" fmla="*/ 6341902 h 6858000"/>
              <a:gd name="connsiteX153" fmla="*/ 2021133 w 12191998"/>
              <a:gd name="connsiteY153" fmla="*/ 6380960 h 6858000"/>
              <a:gd name="connsiteX154" fmla="*/ 2032016 w 12191998"/>
              <a:gd name="connsiteY154" fmla="*/ 6380960 h 6858000"/>
              <a:gd name="connsiteX155" fmla="*/ 2032016 w 12191998"/>
              <a:gd name="connsiteY155" fmla="*/ 6341479 h 6858000"/>
              <a:gd name="connsiteX156" fmla="*/ 2031411 w 12191998"/>
              <a:gd name="connsiteY156" fmla="*/ 6330898 h 6858000"/>
              <a:gd name="connsiteX157" fmla="*/ 2028025 w 12191998"/>
              <a:gd name="connsiteY157" fmla="*/ 6322857 h 6858000"/>
              <a:gd name="connsiteX158" fmla="*/ 2020740 w 12191998"/>
              <a:gd name="connsiteY158" fmla="*/ 6317385 h 6858000"/>
              <a:gd name="connsiteX159" fmla="*/ 2010068 w 12191998"/>
              <a:gd name="connsiteY159" fmla="*/ 6315299 h 6858000"/>
              <a:gd name="connsiteX160" fmla="*/ 1939524 w 12191998"/>
              <a:gd name="connsiteY160" fmla="*/ 6315299 h 6858000"/>
              <a:gd name="connsiteX161" fmla="*/ 1917879 w 12191998"/>
              <a:gd name="connsiteY161" fmla="*/ 6324247 h 6858000"/>
              <a:gd name="connsiteX162" fmla="*/ 1909535 w 12191998"/>
              <a:gd name="connsiteY162" fmla="*/ 6349399 h 6858000"/>
              <a:gd name="connsiteX163" fmla="*/ 1917788 w 12191998"/>
              <a:gd name="connsiteY163" fmla="*/ 6373735 h 6858000"/>
              <a:gd name="connsiteX164" fmla="*/ 1940128 w 12191998"/>
              <a:gd name="connsiteY164" fmla="*/ 6382411 h 6858000"/>
              <a:gd name="connsiteX165" fmla="*/ 1958509 w 12191998"/>
              <a:gd name="connsiteY165" fmla="*/ 6376970 h 6858000"/>
              <a:gd name="connsiteX166" fmla="*/ 1968364 w 12191998"/>
              <a:gd name="connsiteY166" fmla="*/ 6361673 h 6858000"/>
              <a:gd name="connsiteX167" fmla="*/ 1957118 w 12191998"/>
              <a:gd name="connsiteY167" fmla="*/ 6360282 h 6858000"/>
              <a:gd name="connsiteX168" fmla="*/ 1950407 w 12191998"/>
              <a:gd name="connsiteY168" fmla="*/ 6370319 h 6858000"/>
              <a:gd name="connsiteX169" fmla="*/ 1940189 w 12191998"/>
              <a:gd name="connsiteY169" fmla="*/ 6373463 h 6858000"/>
              <a:gd name="connsiteX170" fmla="*/ 1926766 w 12191998"/>
              <a:gd name="connsiteY170" fmla="*/ 6367840 h 6858000"/>
              <a:gd name="connsiteX171" fmla="*/ 1920781 w 12191998"/>
              <a:gd name="connsiteY171" fmla="*/ 6351636 h 6858000"/>
              <a:gd name="connsiteX172" fmla="*/ 1968666 w 12191998"/>
              <a:gd name="connsiteY172" fmla="*/ 6351636 h 6858000"/>
              <a:gd name="connsiteX173" fmla="*/ 1968727 w 12191998"/>
              <a:gd name="connsiteY173" fmla="*/ 6348734 h 6858000"/>
              <a:gd name="connsiteX174" fmla="*/ 1960564 w 12191998"/>
              <a:gd name="connsiteY174" fmla="*/ 6324066 h 6858000"/>
              <a:gd name="connsiteX175" fmla="*/ 1939524 w 12191998"/>
              <a:gd name="connsiteY175" fmla="*/ 6315299 h 6858000"/>
              <a:gd name="connsiteX176" fmla="*/ 1805751 w 12191998"/>
              <a:gd name="connsiteY176" fmla="*/ 6315299 h 6858000"/>
              <a:gd name="connsiteX177" fmla="*/ 1790424 w 12191998"/>
              <a:gd name="connsiteY177" fmla="*/ 6319199 h 6858000"/>
              <a:gd name="connsiteX178" fmla="*/ 1779934 w 12191998"/>
              <a:gd name="connsiteY178" fmla="*/ 6330898 h 6858000"/>
              <a:gd name="connsiteX179" fmla="*/ 1776487 w 12191998"/>
              <a:gd name="connsiteY179" fmla="*/ 6349097 h 6858000"/>
              <a:gd name="connsiteX180" fmla="*/ 1784498 w 12191998"/>
              <a:gd name="connsiteY180" fmla="*/ 6373796 h 6858000"/>
              <a:gd name="connsiteX181" fmla="*/ 1805690 w 12191998"/>
              <a:gd name="connsiteY181" fmla="*/ 6382411 h 6858000"/>
              <a:gd name="connsiteX182" fmla="*/ 1823436 w 12191998"/>
              <a:gd name="connsiteY182" fmla="*/ 6376154 h 6858000"/>
              <a:gd name="connsiteX183" fmla="*/ 1832414 w 12191998"/>
              <a:gd name="connsiteY183" fmla="*/ 6358831 h 6858000"/>
              <a:gd name="connsiteX184" fmla="*/ 1821713 w 12191998"/>
              <a:gd name="connsiteY184" fmla="*/ 6357441 h 6858000"/>
              <a:gd name="connsiteX185" fmla="*/ 1816271 w 12191998"/>
              <a:gd name="connsiteY185" fmla="*/ 6369533 h 6858000"/>
              <a:gd name="connsiteX186" fmla="*/ 1805569 w 12191998"/>
              <a:gd name="connsiteY186" fmla="*/ 6373463 h 6858000"/>
              <a:gd name="connsiteX187" fmla="*/ 1792631 w 12191998"/>
              <a:gd name="connsiteY187" fmla="*/ 6367598 h 6858000"/>
              <a:gd name="connsiteX188" fmla="*/ 1787673 w 12191998"/>
              <a:gd name="connsiteY188" fmla="*/ 6348795 h 6858000"/>
              <a:gd name="connsiteX189" fmla="*/ 1792812 w 12191998"/>
              <a:gd name="connsiteY189" fmla="*/ 6330142 h 6858000"/>
              <a:gd name="connsiteX190" fmla="*/ 1806174 w 12191998"/>
              <a:gd name="connsiteY190" fmla="*/ 6324247 h 6858000"/>
              <a:gd name="connsiteX191" fmla="*/ 1815455 w 12191998"/>
              <a:gd name="connsiteY191" fmla="*/ 6327512 h 6858000"/>
              <a:gd name="connsiteX192" fmla="*/ 1820805 w 12191998"/>
              <a:gd name="connsiteY192" fmla="*/ 6337247 h 6858000"/>
              <a:gd name="connsiteX193" fmla="*/ 1831386 w 12191998"/>
              <a:gd name="connsiteY193" fmla="*/ 6335614 h 6858000"/>
              <a:gd name="connsiteX194" fmla="*/ 1822861 w 12191998"/>
              <a:gd name="connsiteY194" fmla="*/ 6320590 h 6858000"/>
              <a:gd name="connsiteX195" fmla="*/ 1805751 w 12191998"/>
              <a:gd name="connsiteY195" fmla="*/ 6315299 h 6858000"/>
              <a:gd name="connsiteX196" fmla="*/ 1515164 w 12191998"/>
              <a:gd name="connsiteY196" fmla="*/ 6315299 h 6858000"/>
              <a:gd name="connsiteX197" fmla="*/ 1505762 w 12191998"/>
              <a:gd name="connsiteY197" fmla="*/ 6316599 h 6858000"/>
              <a:gd name="connsiteX198" fmla="*/ 1498839 w 12191998"/>
              <a:gd name="connsiteY198" fmla="*/ 6319773 h 6858000"/>
              <a:gd name="connsiteX199" fmla="*/ 1493488 w 12191998"/>
              <a:gd name="connsiteY199" fmla="*/ 6325850 h 6858000"/>
              <a:gd name="connsiteX200" fmla="*/ 1491523 w 12191998"/>
              <a:gd name="connsiteY200" fmla="*/ 6333800 h 6858000"/>
              <a:gd name="connsiteX201" fmla="*/ 1493912 w 12191998"/>
              <a:gd name="connsiteY201" fmla="*/ 6342416 h 6858000"/>
              <a:gd name="connsiteX202" fmla="*/ 1500925 w 12191998"/>
              <a:gd name="connsiteY202" fmla="*/ 6348523 h 6858000"/>
              <a:gd name="connsiteX203" fmla="*/ 1517522 w 12191998"/>
              <a:gd name="connsiteY203" fmla="*/ 6353753 h 6858000"/>
              <a:gd name="connsiteX204" fmla="*/ 1528647 w 12191998"/>
              <a:gd name="connsiteY204" fmla="*/ 6357441 h 6858000"/>
              <a:gd name="connsiteX205" fmla="*/ 1531851 w 12191998"/>
              <a:gd name="connsiteY205" fmla="*/ 6363245 h 6858000"/>
              <a:gd name="connsiteX206" fmla="*/ 1528223 w 12191998"/>
              <a:gd name="connsiteY206" fmla="*/ 6370410 h 6858000"/>
              <a:gd name="connsiteX207" fmla="*/ 1517099 w 12191998"/>
              <a:gd name="connsiteY207" fmla="*/ 6373463 h 6858000"/>
              <a:gd name="connsiteX208" fmla="*/ 1505520 w 12191998"/>
              <a:gd name="connsiteY208" fmla="*/ 6370017 h 6858000"/>
              <a:gd name="connsiteX209" fmla="*/ 1500471 w 12191998"/>
              <a:gd name="connsiteY209" fmla="*/ 6360101 h 6858000"/>
              <a:gd name="connsiteX210" fmla="*/ 1489709 w 12191998"/>
              <a:gd name="connsiteY210" fmla="*/ 6361794 h 6858000"/>
              <a:gd name="connsiteX211" fmla="*/ 1498083 w 12191998"/>
              <a:gd name="connsiteY211" fmla="*/ 6377212 h 6858000"/>
              <a:gd name="connsiteX212" fmla="*/ 1517159 w 12191998"/>
              <a:gd name="connsiteY212" fmla="*/ 6382411 h 6858000"/>
              <a:gd name="connsiteX213" fmla="*/ 1530702 w 12191998"/>
              <a:gd name="connsiteY213" fmla="*/ 6379781 h 6858000"/>
              <a:gd name="connsiteX214" fmla="*/ 1539862 w 12191998"/>
              <a:gd name="connsiteY214" fmla="*/ 6372344 h 6858000"/>
              <a:gd name="connsiteX215" fmla="*/ 1543036 w 12191998"/>
              <a:gd name="connsiteY215" fmla="*/ 6362096 h 6858000"/>
              <a:gd name="connsiteX216" fmla="*/ 1540436 w 12191998"/>
              <a:gd name="connsiteY216" fmla="*/ 6352785 h 6858000"/>
              <a:gd name="connsiteX217" fmla="*/ 1533272 w 12191998"/>
              <a:gd name="connsiteY217" fmla="*/ 6347072 h 6858000"/>
              <a:gd name="connsiteX218" fmla="*/ 1517159 w 12191998"/>
              <a:gd name="connsiteY218" fmla="*/ 6342023 h 6858000"/>
              <a:gd name="connsiteX219" fmla="*/ 1507546 w 12191998"/>
              <a:gd name="connsiteY219" fmla="*/ 6339242 h 6858000"/>
              <a:gd name="connsiteX220" fmla="*/ 1503374 w 12191998"/>
              <a:gd name="connsiteY220" fmla="*/ 6336340 h 6858000"/>
              <a:gd name="connsiteX221" fmla="*/ 1502043 w 12191998"/>
              <a:gd name="connsiteY221" fmla="*/ 6332531 h 6858000"/>
              <a:gd name="connsiteX222" fmla="*/ 1505248 w 12191998"/>
              <a:gd name="connsiteY222" fmla="*/ 6326726 h 6858000"/>
              <a:gd name="connsiteX223" fmla="*/ 1515950 w 12191998"/>
              <a:gd name="connsiteY223" fmla="*/ 6324247 h 6858000"/>
              <a:gd name="connsiteX224" fmla="*/ 1525775 w 12191998"/>
              <a:gd name="connsiteY224" fmla="*/ 6327029 h 6858000"/>
              <a:gd name="connsiteX225" fmla="*/ 1529977 w 12191998"/>
              <a:gd name="connsiteY225" fmla="*/ 6334768 h 6858000"/>
              <a:gd name="connsiteX226" fmla="*/ 1540618 w 12191998"/>
              <a:gd name="connsiteY226" fmla="*/ 6333317 h 6858000"/>
              <a:gd name="connsiteX227" fmla="*/ 1536869 w 12191998"/>
              <a:gd name="connsiteY227" fmla="*/ 6323371 h 6858000"/>
              <a:gd name="connsiteX228" fmla="*/ 1528435 w 12191998"/>
              <a:gd name="connsiteY228" fmla="*/ 6317476 h 6858000"/>
              <a:gd name="connsiteX229" fmla="*/ 1515164 w 12191998"/>
              <a:gd name="connsiteY229" fmla="*/ 6315299 h 6858000"/>
              <a:gd name="connsiteX230" fmla="*/ 1479543 w 12191998"/>
              <a:gd name="connsiteY230" fmla="*/ 6315299 h 6858000"/>
              <a:gd name="connsiteX231" fmla="*/ 1472559 w 12191998"/>
              <a:gd name="connsiteY231" fmla="*/ 6317476 h 6858000"/>
              <a:gd name="connsiteX232" fmla="*/ 1465637 w 12191998"/>
              <a:gd name="connsiteY232" fmla="*/ 6326485 h 6858000"/>
              <a:gd name="connsiteX233" fmla="*/ 1465637 w 12191998"/>
              <a:gd name="connsiteY233" fmla="*/ 6316750 h 6858000"/>
              <a:gd name="connsiteX234" fmla="*/ 1455842 w 12191998"/>
              <a:gd name="connsiteY234" fmla="*/ 6316750 h 6858000"/>
              <a:gd name="connsiteX235" fmla="*/ 1455842 w 12191998"/>
              <a:gd name="connsiteY235" fmla="*/ 6380960 h 6858000"/>
              <a:gd name="connsiteX236" fmla="*/ 1466725 w 12191998"/>
              <a:gd name="connsiteY236" fmla="*/ 6380960 h 6858000"/>
              <a:gd name="connsiteX237" fmla="*/ 1466725 w 12191998"/>
              <a:gd name="connsiteY237" fmla="*/ 6347344 h 6858000"/>
              <a:gd name="connsiteX238" fmla="*/ 1468539 w 12191998"/>
              <a:gd name="connsiteY238" fmla="*/ 6334647 h 6858000"/>
              <a:gd name="connsiteX239" fmla="*/ 1472589 w 12191998"/>
              <a:gd name="connsiteY239" fmla="*/ 6328691 h 6858000"/>
              <a:gd name="connsiteX240" fmla="*/ 1478999 w 12191998"/>
              <a:gd name="connsiteY240" fmla="*/ 6326545 h 6858000"/>
              <a:gd name="connsiteX241" fmla="*/ 1486979 w 12191998"/>
              <a:gd name="connsiteY241" fmla="*/ 6328903 h 6858000"/>
              <a:gd name="connsiteX242" fmla="*/ 1490728 w 12191998"/>
              <a:gd name="connsiteY242" fmla="*/ 6318806 h 6858000"/>
              <a:gd name="connsiteX243" fmla="*/ 1479543 w 12191998"/>
              <a:gd name="connsiteY243" fmla="*/ 6315299 h 6858000"/>
              <a:gd name="connsiteX244" fmla="*/ 1416435 w 12191998"/>
              <a:gd name="connsiteY244" fmla="*/ 6315299 h 6858000"/>
              <a:gd name="connsiteX245" fmla="*/ 1401864 w 12191998"/>
              <a:gd name="connsiteY245" fmla="*/ 6317566 h 6858000"/>
              <a:gd name="connsiteX246" fmla="*/ 1392250 w 12191998"/>
              <a:gd name="connsiteY246" fmla="*/ 6324036 h 6858000"/>
              <a:gd name="connsiteX247" fmla="*/ 1387474 w 12191998"/>
              <a:gd name="connsiteY247" fmla="*/ 6335070 h 6858000"/>
              <a:gd name="connsiteX248" fmla="*/ 1398115 w 12191998"/>
              <a:gd name="connsiteY248" fmla="*/ 6336521 h 6858000"/>
              <a:gd name="connsiteX249" fmla="*/ 1403526 w 12191998"/>
              <a:gd name="connsiteY249" fmla="*/ 6326998 h 6858000"/>
              <a:gd name="connsiteX250" fmla="*/ 1414863 w 12191998"/>
              <a:gd name="connsiteY250" fmla="*/ 6324308 h 6858000"/>
              <a:gd name="connsiteX251" fmla="*/ 1427257 w 12191998"/>
              <a:gd name="connsiteY251" fmla="*/ 6327996 h 6858000"/>
              <a:gd name="connsiteX252" fmla="*/ 1430341 w 12191998"/>
              <a:gd name="connsiteY252" fmla="*/ 6337368 h 6858000"/>
              <a:gd name="connsiteX253" fmla="*/ 1430280 w 12191998"/>
              <a:gd name="connsiteY253" fmla="*/ 6340209 h 6858000"/>
              <a:gd name="connsiteX254" fmla="*/ 1410872 w 12191998"/>
              <a:gd name="connsiteY254" fmla="*/ 6343958 h 6858000"/>
              <a:gd name="connsiteX255" fmla="*/ 1401198 w 12191998"/>
              <a:gd name="connsiteY255" fmla="*/ 6345590 h 6858000"/>
              <a:gd name="connsiteX256" fmla="*/ 1393369 w 12191998"/>
              <a:gd name="connsiteY256" fmla="*/ 6349158 h 6858000"/>
              <a:gd name="connsiteX257" fmla="*/ 1387746 w 12191998"/>
              <a:gd name="connsiteY257" fmla="*/ 6355415 h 6858000"/>
              <a:gd name="connsiteX258" fmla="*/ 1385599 w 12191998"/>
              <a:gd name="connsiteY258" fmla="*/ 6364031 h 6858000"/>
              <a:gd name="connsiteX259" fmla="*/ 1391283 w 12191998"/>
              <a:gd name="connsiteY259" fmla="*/ 6377242 h 6858000"/>
              <a:gd name="connsiteX260" fmla="*/ 1407547 w 12191998"/>
              <a:gd name="connsiteY260" fmla="*/ 6382411 h 6858000"/>
              <a:gd name="connsiteX261" fmla="*/ 1419549 w 12191998"/>
              <a:gd name="connsiteY261" fmla="*/ 6380295 h 6858000"/>
              <a:gd name="connsiteX262" fmla="*/ 1431187 w 12191998"/>
              <a:gd name="connsiteY262" fmla="*/ 6373040 h 6858000"/>
              <a:gd name="connsiteX263" fmla="*/ 1433364 w 12191998"/>
              <a:gd name="connsiteY263" fmla="*/ 6380960 h 6858000"/>
              <a:gd name="connsiteX264" fmla="*/ 1444731 w 12191998"/>
              <a:gd name="connsiteY264" fmla="*/ 6380960 h 6858000"/>
              <a:gd name="connsiteX265" fmla="*/ 1441980 w 12191998"/>
              <a:gd name="connsiteY265" fmla="*/ 6373251 h 6858000"/>
              <a:gd name="connsiteX266" fmla="*/ 1441284 w 12191998"/>
              <a:gd name="connsiteY266" fmla="*/ 6354055 h 6858000"/>
              <a:gd name="connsiteX267" fmla="*/ 1441284 w 12191998"/>
              <a:gd name="connsiteY267" fmla="*/ 6339544 h 6858000"/>
              <a:gd name="connsiteX268" fmla="*/ 1440740 w 12191998"/>
              <a:gd name="connsiteY268" fmla="*/ 6329508 h 6858000"/>
              <a:gd name="connsiteX269" fmla="*/ 1437354 w 12191998"/>
              <a:gd name="connsiteY269" fmla="*/ 6322101 h 6858000"/>
              <a:gd name="connsiteX270" fmla="*/ 1429797 w 12191998"/>
              <a:gd name="connsiteY270" fmla="*/ 6317234 h 6858000"/>
              <a:gd name="connsiteX271" fmla="*/ 1416435 w 12191998"/>
              <a:gd name="connsiteY271" fmla="*/ 6315299 h 6858000"/>
              <a:gd name="connsiteX272" fmla="*/ 1167697 w 12191998"/>
              <a:gd name="connsiteY272" fmla="*/ 6315299 h 6858000"/>
              <a:gd name="connsiteX273" fmla="*/ 1147502 w 12191998"/>
              <a:gd name="connsiteY273" fmla="*/ 6322434 h 6858000"/>
              <a:gd name="connsiteX274" fmla="*/ 1137587 w 12191998"/>
              <a:gd name="connsiteY274" fmla="*/ 6348855 h 6858000"/>
              <a:gd name="connsiteX275" fmla="*/ 1145900 w 12191998"/>
              <a:gd name="connsiteY275" fmla="*/ 6373765 h 6858000"/>
              <a:gd name="connsiteX276" fmla="*/ 1167697 w 12191998"/>
              <a:gd name="connsiteY276" fmla="*/ 6382411 h 6858000"/>
              <a:gd name="connsiteX277" fmla="*/ 1183205 w 12191998"/>
              <a:gd name="connsiteY277" fmla="*/ 6378481 h 6858000"/>
              <a:gd name="connsiteX278" fmla="*/ 1194027 w 12191998"/>
              <a:gd name="connsiteY278" fmla="*/ 6367447 h 6858000"/>
              <a:gd name="connsiteX279" fmla="*/ 1197746 w 12191998"/>
              <a:gd name="connsiteY279" fmla="*/ 6347948 h 6858000"/>
              <a:gd name="connsiteX280" fmla="*/ 1189342 w 12191998"/>
              <a:gd name="connsiteY280" fmla="*/ 6323975 h 6858000"/>
              <a:gd name="connsiteX281" fmla="*/ 1167697 w 12191998"/>
              <a:gd name="connsiteY281" fmla="*/ 6315299 h 6858000"/>
              <a:gd name="connsiteX282" fmla="*/ 1057964 w 12191998"/>
              <a:gd name="connsiteY282" fmla="*/ 6315299 h 6858000"/>
              <a:gd name="connsiteX283" fmla="*/ 1048562 w 12191998"/>
              <a:gd name="connsiteY283" fmla="*/ 6316599 h 6858000"/>
              <a:gd name="connsiteX284" fmla="*/ 1041639 w 12191998"/>
              <a:gd name="connsiteY284" fmla="*/ 6319773 h 6858000"/>
              <a:gd name="connsiteX285" fmla="*/ 1036288 w 12191998"/>
              <a:gd name="connsiteY285" fmla="*/ 6325850 h 6858000"/>
              <a:gd name="connsiteX286" fmla="*/ 1034323 w 12191998"/>
              <a:gd name="connsiteY286" fmla="*/ 6333800 h 6858000"/>
              <a:gd name="connsiteX287" fmla="*/ 1036711 w 12191998"/>
              <a:gd name="connsiteY287" fmla="*/ 6342416 h 6858000"/>
              <a:gd name="connsiteX288" fmla="*/ 1043725 w 12191998"/>
              <a:gd name="connsiteY288" fmla="*/ 6348523 h 6858000"/>
              <a:gd name="connsiteX289" fmla="*/ 1060322 w 12191998"/>
              <a:gd name="connsiteY289" fmla="*/ 6353753 h 6858000"/>
              <a:gd name="connsiteX290" fmla="*/ 1071446 w 12191998"/>
              <a:gd name="connsiteY290" fmla="*/ 6357441 h 6858000"/>
              <a:gd name="connsiteX291" fmla="*/ 1074651 w 12191998"/>
              <a:gd name="connsiteY291" fmla="*/ 6363245 h 6858000"/>
              <a:gd name="connsiteX292" fmla="*/ 1071023 w 12191998"/>
              <a:gd name="connsiteY292" fmla="*/ 6370410 h 6858000"/>
              <a:gd name="connsiteX293" fmla="*/ 1059898 w 12191998"/>
              <a:gd name="connsiteY293" fmla="*/ 6373463 h 6858000"/>
              <a:gd name="connsiteX294" fmla="*/ 1048320 w 12191998"/>
              <a:gd name="connsiteY294" fmla="*/ 6370017 h 6858000"/>
              <a:gd name="connsiteX295" fmla="*/ 1043271 w 12191998"/>
              <a:gd name="connsiteY295" fmla="*/ 6360101 h 6858000"/>
              <a:gd name="connsiteX296" fmla="*/ 1032509 w 12191998"/>
              <a:gd name="connsiteY296" fmla="*/ 6361794 h 6858000"/>
              <a:gd name="connsiteX297" fmla="*/ 1040883 w 12191998"/>
              <a:gd name="connsiteY297" fmla="*/ 6377212 h 6858000"/>
              <a:gd name="connsiteX298" fmla="*/ 1059959 w 12191998"/>
              <a:gd name="connsiteY298" fmla="*/ 6382411 h 6858000"/>
              <a:gd name="connsiteX299" fmla="*/ 1073502 w 12191998"/>
              <a:gd name="connsiteY299" fmla="*/ 6379781 h 6858000"/>
              <a:gd name="connsiteX300" fmla="*/ 1082662 w 12191998"/>
              <a:gd name="connsiteY300" fmla="*/ 6372344 h 6858000"/>
              <a:gd name="connsiteX301" fmla="*/ 1085836 w 12191998"/>
              <a:gd name="connsiteY301" fmla="*/ 6362096 h 6858000"/>
              <a:gd name="connsiteX302" fmla="*/ 1083236 w 12191998"/>
              <a:gd name="connsiteY302" fmla="*/ 6352785 h 6858000"/>
              <a:gd name="connsiteX303" fmla="*/ 1076072 w 12191998"/>
              <a:gd name="connsiteY303" fmla="*/ 6347072 h 6858000"/>
              <a:gd name="connsiteX304" fmla="*/ 1059959 w 12191998"/>
              <a:gd name="connsiteY304" fmla="*/ 6342023 h 6858000"/>
              <a:gd name="connsiteX305" fmla="*/ 1050345 w 12191998"/>
              <a:gd name="connsiteY305" fmla="*/ 6339242 h 6858000"/>
              <a:gd name="connsiteX306" fmla="*/ 1046174 w 12191998"/>
              <a:gd name="connsiteY306" fmla="*/ 6336340 h 6858000"/>
              <a:gd name="connsiteX307" fmla="*/ 1044843 w 12191998"/>
              <a:gd name="connsiteY307" fmla="*/ 6332531 h 6858000"/>
              <a:gd name="connsiteX308" fmla="*/ 1048048 w 12191998"/>
              <a:gd name="connsiteY308" fmla="*/ 6326726 h 6858000"/>
              <a:gd name="connsiteX309" fmla="*/ 1058750 w 12191998"/>
              <a:gd name="connsiteY309" fmla="*/ 6324247 h 6858000"/>
              <a:gd name="connsiteX310" fmla="*/ 1068575 w 12191998"/>
              <a:gd name="connsiteY310" fmla="*/ 6327029 h 6858000"/>
              <a:gd name="connsiteX311" fmla="*/ 1072777 w 12191998"/>
              <a:gd name="connsiteY311" fmla="*/ 6334768 h 6858000"/>
              <a:gd name="connsiteX312" fmla="*/ 1083418 w 12191998"/>
              <a:gd name="connsiteY312" fmla="*/ 6333317 h 6858000"/>
              <a:gd name="connsiteX313" fmla="*/ 1079669 w 12191998"/>
              <a:gd name="connsiteY313" fmla="*/ 6323371 h 6858000"/>
              <a:gd name="connsiteX314" fmla="*/ 1071235 w 12191998"/>
              <a:gd name="connsiteY314" fmla="*/ 6317476 h 6858000"/>
              <a:gd name="connsiteX315" fmla="*/ 1057964 w 12191998"/>
              <a:gd name="connsiteY315" fmla="*/ 6315299 h 6858000"/>
              <a:gd name="connsiteX316" fmla="*/ 991289 w 12191998"/>
              <a:gd name="connsiteY316" fmla="*/ 6315299 h 6858000"/>
              <a:gd name="connsiteX317" fmla="*/ 981887 w 12191998"/>
              <a:gd name="connsiteY317" fmla="*/ 6316599 h 6858000"/>
              <a:gd name="connsiteX318" fmla="*/ 974964 w 12191998"/>
              <a:gd name="connsiteY318" fmla="*/ 6319773 h 6858000"/>
              <a:gd name="connsiteX319" fmla="*/ 969613 w 12191998"/>
              <a:gd name="connsiteY319" fmla="*/ 6325850 h 6858000"/>
              <a:gd name="connsiteX320" fmla="*/ 967648 w 12191998"/>
              <a:gd name="connsiteY320" fmla="*/ 6333800 h 6858000"/>
              <a:gd name="connsiteX321" fmla="*/ 970036 w 12191998"/>
              <a:gd name="connsiteY321" fmla="*/ 6342416 h 6858000"/>
              <a:gd name="connsiteX322" fmla="*/ 977050 w 12191998"/>
              <a:gd name="connsiteY322" fmla="*/ 6348523 h 6858000"/>
              <a:gd name="connsiteX323" fmla="*/ 993647 w 12191998"/>
              <a:gd name="connsiteY323" fmla="*/ 6353753 h 6858000"/>
              <a:gd name="connsiteX324" fmla="*/ 1004771 w 12191998"/>
              <a:gd name="connsiteY324" fmla="*/ 6357441 h 6858000"/>
              <a:gd name="connsiteX325" fmla="*/ 1007976 w 12191998"/>
              <a:gd name="connsiteY325" fmla="*/ 6363245 h 6858000"/>
              <a:gd name="connsiteX326" fmla="*/ 1004348 w 12191998"/>
              <a:gd name="connsiteY326" fmla="*/ 6370410 h 6858000"/>
              <a:gd name="connsiteX327" fmla="*/ 993223 w 12191998"/>
              <a:gd name="connsiteY327" fmla="*/ 6373463 h 6858000"/>
              <a:gd name="connsiteX328" fmla="*/ 981645 w 12191998"/>
              <a:gd name="connsiteY328" fmla="*/ 6370017 h 6858000"/>
              <a:gd name="connsiteX329" fmla="*/ 976597 w 12191998"/>
              <a:gd name="connsiteY329" fmla="*/ 6360101 h 6858000"/>
              <a:gd name="connsiteX330" fmla="*/ 965834 w 12191998"/>
              <a:gd name="connsiteY330" fmla="*/ 6361794 h 6858000"/>
              <a:gd name="connsiteX331" fmla="*/ 974208 w 12191998"/>
              <a:gd name="connsiteY331" fmla="*/ 6377212 h 6858000"/>
              <a:gd name="connsiteX332" fmla="*/ 993284 w 12191998"/>
              <a:gd name="connsiteY332" fmla="*/ 6382411 h 6858000"/>
              <a:gd name="connsiteX333" fmla="*/ 1006827 w 12191998"/>
              <a:gd name="connsiteY333" fmla="*/ 6379781 h 6858000"/>
              <a:gd name="connsiteX334" fmla="*/ 1015987 w 12191998"/>
              <a:gd name="connsiteY334" fmla="*/ 6372344 h 6858000"/>
              <a:gd name="connsiteX335" fmla="*/ 1019161 w 12191998"/>
              <a:gd name="connsiteY335" fmla="*/ 6362096 h 6858000"/>
              <a:gd name="connsiteX336" fmla="*/ 1016561 w 12191998"/>
              <a:gd name="connsiteY336" fmla="*/ 6352785 h 6858000"/>
              <a:gd name="connsiteX337" fmla="*/ 1009397 w 12191998"/>
              <a:gd name="connsiteY337" fmla="*/ 6347072 h 6858000"/>
              <a:gd name="connsiteX338" fmla="*/ 993284 w 12191998"/>
              <a:gd name="connsiteY338" fmla="*/ 6342023 h 6858000"/>
              <a:gd name="connsiteX339" fmla="*/ 983670 w 12191998"/>
              <a:gd name="connsiteY339" fmla="*/ 6339242 h 6858000"/>
              <a:gd name="connsiteX340" fmla="*/ 979499 w 12191998"/>
              <a:gd name="connsiteY340" fmla="*/ 6336340 h 6858000"/>
              <a:gd name="connsiteX341" fmla="*/ 978169 w 12191998"/>
              <a:gd name="connsiteY341" fmla="*/ 6332531 h 6858000"/>
              <a:gd name="connsiteX342" fmla="*/ 981373 w 12191998"/>
              <a:gd name="connsiteY342" fmla="*/ 6326726 h 6858000"/>
              <a:gd name="connsiteX343" fmla="*/ 992075 w 12191998"/>
              <a:gd name="connsiteY343" fmla="*/ 6324247 h 6858000"/>
              <a:gd name="connsiteX344" fmla="*/ 1001899 w 12191998"/>
              <a:gd name="connsiteY344" fmla="*/ 6327029 h 6858000"/>
              <a:gd name="connsiteX345" fmla="*/ 1006102 w 12191998"/>
              <a:gd name="connsiteY345" fmla="*/ 6334768 h 6858000"/>
              <a:gd name="connsiteX346" fmla="*/ 1016743 w 12191998"/>
              <a:gd name="connsiteY346" fmla="*/ 6333317 h 6858000"/>
              <a:gd name="connsiteX347" fmla="*/ 1012994 w 12191998"/>
              <a:gd name="connsiteY347" fmla="*/ 6323371 h 6858000"/>
              <a:gd name="connsiteX348" fmla="*/ 1004560 w 12191998"/>
              <a:gd name="connsiteY348" fmla="*/ 6317476 h 6858000"/>
              <a:gd name="connsiteX349" fmla="*/ 991289 w 12191998"/>
              <a:gd name="connsiteY349" fmla="*/ 6315299 h 6858000"/>
              <a:gd name="connsiteX350" fmla="*/ 929874 w 12191998"/>
              <a:gd name="connsiteY350" fmla="*/ 6315299 h 6858000"/>
              <a:gd name="connsiteX351" fmla="*/ 908228 w 12191998"/>
              <a:gd name="connsiteY351" fmla="*/ 6324247 h 6858000"/>
              <a:gd name="connsiteX352" fmla="*/ 899885 w 12191998"/>
              <a:gd name="connsiteY352" fmla="*/ 6349399 h 6858000"/>
              <a:gd name="connsiteX353" fmla="*/ 908138 w 12191998"/>
              <a:gd name="connsiteY353" fmla="*/ 6373735 h 6858000"/>
              <a:gd name="connsiteX354" fmla="*/ 930478 w 12191998"/>
              <a:gd name="connsiteY354" fmla="*/ 6382411 h 6858000"/>
              <a:gd name="connsiteX355" fmla="*/ 948859 w 12191998"/>
              <a:gd name="connsiteY355" fmla="*/ 6376970 h 6858000"/>
              <a:gd name="connsiteX356" fmla="*/ 958714 w 12191998"/>
              <a:gd name="connsiteY356" fmla="*/ 6361673 h 6858000"/>
              <a:gd name="connsiteX357" fmla="*/ 947468 w 12191998"/>
              <a:gd name="connsiteY357" fmla="*/ 6360282 h 6858000"/>
              <a:gd name="connsiteX358" fmla="*/ 940757 w 12191998"/>
              <a:gd name="connsiteY358" fmla="*/ 6370319 h 6858000"/>
              <a:gd name="connsiteX359" fmla="*/ 930539 w 12191998"/>
              <a:gd name="connsiteY359" fmla="*/ 6373463 h 6858000"/>
              <a:gd name="connsiteX360" fmla="*/ 917116 w 12191998"/>
              <a:gd name="connsiteY360" fmla="*/ 6367840 h 6858000"/>
              <a:gd name="connsiteX361" fmla="*/ 911131 w 12191998"/>
              <a:gd name="connsiteY361" fmla="*/ 6351636 h 6858000"/>
              <a:gd name="connsiteX362" fmla="*/ 959016 w 12191998"/>
              <a:gd name="connsiteY362" fmla="*/ 6351636 h 6858000"/>
              <a:gd name="connsiteX363" fmla="*/ 959077 w 12191998"/>
              <a:gd name="connsiteY363" fmla="*/ 6348734 h 6858000"/>
              <a:gd name="connsiteX364" fmla="*/ 950914 w 12191998"/>
              <a:gd name="connsiteY364" fmla="*/ 6324066 h 6858000"/>
              <a:gd name="connsiteX365" fmla="*/ 929874 w 12191998"/>
              <a:gd name="connsiteY365" fmla="*/ 6315299 h 6858000"/>
              <a:gd name="connsiteX366" fmla="*/ 867068 w 12191998"/>
              <a:gd name="connsiteY366" fmla="*/ 6315299 h 6858000"/>
              <a:gd name="connsiteX367" fmla="*/ 846632 w 12191998"/>
              <a:gd name="connsiteY367" fmla="*/ 6325880 h 6858000"/>
              <a:gd name="connsiteX368" fmla="*/ 846632 w 12191998"/>
              <a:gd name="connsiteY368" fmla="*/ 6316750 h 6858000"/>
              <a:gd name="connsiteX369" fmla="*/ 836838 w 12191998"/>
              <a:gd name="connsiteY369" fmla="*/ 6316750 h 6858000"/>
              <a:gd name="connsiteX370" fmla="*/ 836838 w 12191998"/>
              <a:gd name="connsiteY370" fmla="*/ 6380960 h 6858000"/>
              <a:gd name="connsiteX371" fmla="*/ 847721 w 12191998"/>
              <a:gd name="connsiteY371" fmla="*/ 6380960 h 6858000"/>
              <a:gd name="connsiteX372" fmla="*/ 847721 w 12191998"/>
              <a:gd name="connsiteY372" fmla="*/ 6345893 h 6858000"/>
              <a:gd name="connsiteX373" fmla="*/ 852769 w 12191998"/>
              <a:gd name="connsiteY373" fmla="*/ 6329145 h 6858000"/>
              <a:gd name="connsiteX374" fmla="*/ 864771 w 12191998"/>
              <a:gd name="connsiteY374" fmla="*/ 6324731 h 6858000"/>
              <a:gd name="connsiteX375" fmla="*/ 872359 w 12191998"/>
              <a:gd name="connsiteY375" fmla="*/ 6326696 h 6858000"/>
              <a:gd name="connsiteX376" fmla="*/ 876863 w 12191998"/>
              <a:gd name="connsiteY376" fmla="*/ 6331956 h 6858000"/>
              <a:gd name="connsiteX377" fmla="*/ 878133 w 12191998"/>
              <a:gd name="connsiteY377" fmla="*/ 6341902 h 6858000"/>
              <a:gd name="connsiteX378" fmla="*/ 878133 w 12191998"/>
              <a:gd name="connsiteY378" fmla="*/ 6380960 h 6858000"/>
              <a:gd name="connsiteX379" fmla="*/ 889016 w 12191998"/>
              <a:gd name="connsiteY379" fmla="*/ 6380960 h 6858000"/>
              <a:gd name="connsiteX380" fmla="*/ 889016 w 12191998"/>
              <a:gd name="connsiteY380" fmla="*/ 6341479 h 6858000"/>
              <a:gd name="connsiteX381" fmla="*/ 888411 w 12191998"/>
              <a:gd name="connsiteY381" fmla="*/ 6330898 h 6858000"/>
              <a:gd name="connsiteX382" fmla="*/ 885025 w 12191998"/>
              <a:gd name="connsiteY382" fmla="*/ 6322857 h 6858000"/>
              <a:gd name="connsiteX383" fmla="*/ 877740 w 12191998"/>
              <a:gd name="connsiteY383" fmla="*/ 6317385 h 6858000"/>
              <a:gd name="connsiteX384" fmla="*/ 867068 w 12191998"/>
              <a:gd name="connsiteY384" fmla="*/ 6315299 h 6858000"/>
              <a:gd name="connsiteX385" fmla="*/ 762689 w 12191998"/>
              <a:gd name="connsiteY385" fmla="*/ 6315299 h 6858000"/>
              <a:gd name="connsiteX386" fmla="*/ 753287 w 12191998"/>
              <a:gd name="connsiteY386" fmla="*/ 6316599 h 6858000"/>
              <a:gd name="connsiteX387" fmla="*/ 746364 w 12191998"/>
              <a:gd name="connsiteY387" fmla="*/ 6319773 h 6858000"/>
              <a:gd name="connsiteX388" fmla="*/ 741013 w 12191998"/>
              <a:gd name="connsiteY388" fmla="*/ 6325850 h 6858000"/>
              <a:gd name="connsiteX389" fmla="*/ 739048 w 12191998"/>
              <a:gd name="connsiteY389" fmla="*/ 6333800 h 6858000"/>
              <a:gd name="connsiteX390" fmla="*/ 741436 w 12191998"/>
              <a:gd name="connsiteY390" fmla="*/ 6342416 h 6858000"/>
              <a:gd name="connsiteX391" fmla="*/ 748450 w 12191998"/>
              <a:gd name="connsiteY391" fmla="*/ 6348523 h 6858000"/>
              <a:gd name="connsiteX392" fmla="*/ 765047 w 12191998"/>
              <a:gd name="connsiteY392" fmla="*/ 6353753 h 6858000"/>
              <a:gd name="connsiteX393" fmla="*/ 776171 w 12191998"/>
              <a:gd name="connsiteY393" fmla="*/ 6357441 h 6858000"/>
              <a:gd name="connsiteX394" fmla="*/ 779376 w 12191998"/>
              <a:gd name="connsiteY394" fmla="*/ 6363245 h 6858000"/>
              <a:gd name="connsiteX395" fmla="*/ 775748 w 12191998"/>
              <a:gd name="connsiteY395" fmla="*/ 6370410 h 6858000"/>
              <a:gd name="connsiteX396" fmla="*/ 764623 w 12191998"/>
              <a:gd name="connsiteY396" fmla="*/ 6373463 h 6858000"/>
              <a:gd name="connsiteX397" fmla="*/ 753045 w 12191998"/>
              <a:gd name="connsiteY397" fmla="*/ 6370017 h 6858000"/>
              <a:gd name="connsiteX398" fmla="*/ 747996 w 12191998"/>
              <a:gd name="connsiteY398" fmla="*/ 6360101 h 6858000"/>
              <a:gd name="connsiteX399" fmla="*/ 737234 w 12191998"/>
              <a:gd name="connsiteY399" fmla="*/ 6361794 h 6858000"/>
              <a:gd name="connsiteX400" fmla="*/ 745608 w 12191998"/>
              <a:gd name="connsiteY400" fmla="*/ 6377212 h 6858000"/>
              <a:gd name="connsiteX401" fmla="*/ 764684 w 12191998"/>
              <a:gd name="connsiteY401" fmla="*/ 6382411 h 6858000"/>
              <a:gd name="connsiteX402" fmla="*/ 778227 w 12191998"/>
              <a:gd name="connsiteY402" fmla="*/ 6379781 h 6858000"/>
              <a:gd name="connsiteX403" fmla="*/ 787387 w 12191998"/>
              <a:gd name="connsiteY403" fmla="*/ 6372344 h 6858000"/>
              <a:gd name="connsiteX404" fmla="*/ 790561 w 12191998"/>
              <a:gd name="connsiteY404" fmla="*/ 6362096 h 6858000"/>
              <a:gd name="connsiteX405" fmla="*/ 787961 w 12191998"/>
              <a:gd name="connsiteY405" fmla="*/ 6352785 h 6858000"/>
              <a:gd name="connsiteX406" fmla="*/ 780797 w 12191998"/>
              <a:gd name="connsiteY406" fmla="*/ 6347072 h 6858000"/>
              <a:gd name="connsiteX407" fmla="*/ 764684 w 12191998"/>
              <a:gd name="connsiteY407" fmla="*/ 6342023 h 6858000"/>
              <a:gd name="connsiteX408" fmla="*/ 755070 w 12191998"/>
              <a:gd name="connsiteY408" fmla="*/ 6339242 h 6858000"/>
              <a:gd name="connsiteX409" fmla="*/ 750899 w 12191998"/>
              <a:gd name="connsiteY409" fmla="*/ 6336340 h 6858000"/>
              <a:gd name="connsiteX410" fmla="*/ 749568 w 12191998"/>
              <a:gd name="connsiteY410" fmla="*/ 6332531 h 6858000"/>
              <a:gd name="connsiteX411" fmla="*/ 752773 w 12191998"/>
              <a:gd name="connsiteY411" fmla="*/ 6326726 h 6858000"/>
              <a:gd name="connsiteX412" fmla="*/ 763475 w 12191998"/>
              <a:gd name="connsiteY412" fmla="*/ 6324247 h 6858000"/>
              <a:gd name="connsiteX413" fmla="*/ 773300 w 12191998"/>
              <a:gd name="connsiteY413" fmla="*/ 6327029 h 6858000"/>
              <a:gd name="connsiteX414" fmla="*/ 777502 w 12191998"/>
              <a:gd name="connsiteY414" fmla="*/ 6334768 h 6858000"/>
              <a:gd name="connsiteX415" fmla="*/ 788143 w 12191998"/>
              <a:gd name="connsiteY415" fmla="*/ 6333317 h 6858000"/>
              <a:gd name="connsiteX416" fmla="*/ 784394 w 12191998"/>
              <a:gd name="connsiteY416" fmla="*/ 6323371 h 6858000"/>
              <a:gd name="connsiteX417" fmla="*/ 775960 w 12191998"/>
              <a:gd name="connsiteY417" fmla="*/ 6317476 h 6858000"/>
              <a:gd name="connsiteX418" fmla="*/ 762689 w 12191998"/>
              <a:gd name="connsiteY418" fmla="*/ 6315299 h 6858000"/>
              <a:gd name="connsiteX419" fmla="*/ 525680 w 12191998"/>
              <a:gd name="connsiteY419" fmla="*/ 6301635 h 6858000"/>
              <a:gd name="connsiteX420" fmla="*/ 531968 w 12191998"/>
              <a:gd name="connsiteY420" fmla="*/ 6320015 h 6858000"/>
              <a:gd name="connsiteX421" fmla="*/ 541218 w 12191998"/>
              <a:gd name="connsiteY421" fmla="*/ 6344562 h 6858000"/>
              <a:gd name="connsiteX422" fmla="*/ 511169 w 12191998"/>
              <a:gd name="connsiteY422" fmla="*/ 6344562 h 6858000"/>
              <a:gd name="connsiteX423" fmla="*/ 520903 w 12191998"/>
              <a:gd name="connsiteY423" fmla="*/ 6318564 h 6858000"/>
              <a:gd name="connsiteX424" fmla="*/ 525680 w 12191998"/>
              <a:gd name="connsiteY424" fmla="*/ 6301635 h 6858000"/>
              <a:gd name="connsiteX425" fmla="*/ 1847395 w 12191998"/>
              <a:gd name="connsiteY425" fmla="*/ 6292324 h 6858000"/>
              <a:gd name="connsiteX426" fmla="*/ 1847395 w 12191998"/>
              <a:gd name="connsiteY426" fmla="*/ 6380960 h 6858000"/>
              <a:gd name="connsiteX427" fmla="*/ 1902777 w 12191998"/>
              <a:gd name="connsiteY427" fmla="*/ 6380960 h 6858000"/>
              <a:gd name="connsiteX428" fmla="*/ 1902777 w 12191998"/>
              <a:gd name="connsiteY428" fmla="*/ 6370500 h 6858000"/>
              <a:gd name="connsiteX429" fmla="*/ 1859124 w 12191998"/>
              <a:gd name="connsiteY429" fmla="*/ 6370500 h 6858000"/>
              <a:gd name="connsiteX430" fmla="*/ 1859124 w 12191998"/>
              <a:gd name="connsiteY430" fmla="*/ 6292324 h 6858000"/>
              <a:gd name="connsiteX431" fmla="*/ 1676066 w 12191998"/>
              <a:gd name="connsiteY431" fmla="*/ 6292324 h 6858000"/>
              <a:gd name="connsiteX432" fmla="*/ 1676066 w 12191998"/>
              <a:gd name="connsiteY432" fmla="*/ 6380960 h 6858000"/>
              <a:gd name="connsiteX433" fmla="*/ 1687372 w 12191998"/>
              <a:gd name="connsiteY433" fmla="*/ 6380960 h 6858000"/>
              <a:gd name="connsiteX434" fmla="*/ 1687372 w 12191998"/>
              <a:gd name="connsiteY434" fmla="*/ 6305504 h 6858000"/>
              <a:gd name="connsiteX435" fmla="*/ 1713007 w 12191998"/>
              <a:gd name="connsiteY435" fmla="*/ 6380960 h 6858000"/>
              <a:gd name="connsiteX436" fmla="*/ 1723588 w 12191998"/>
              <a:gd name="connsiteY436" fmla="*/ 6380960 h 6858000"/>
              <a:gd name="connsiteX437" fmla="*/ 1749345 w 12191998"/>
              <a:gd name="connsiteY437" fmla="*/ 6306774 h 6858000"/>
              <a:gd name="connsiteX438" fmla="*/ 1749345 w 12191998"/>
              <a:gd name="connsiteY438" fmla="*/ 6380960 h 6858000"/>
              <a:gd name="connsiteX439" fmla="*/ 1760651 w 12191998"/>
              <a:gd name="connsiteY439" fmla="*/ 6380960 h 6858000"/>
              <a:gd name="connsiteX440" fmla="*/ 1760651 w 12191998"/>
              <a:gd name="connsiteY440" fmla="*/ 6292324 h 6858000"/>
              <a:gd name="connsiteX441" fmla="*/ 1744871 w 12191998"/>
              <a:gd name="connsiteY441" fmla="*/ 6292324 h 6858000"/>
              <a:gd name="connsiteX442" fmla="*/ 1723649 w 12191998"/>
              <a:gd name="connsiteY442" fmla="*/ 6353994 h 6858000"/>
              <a:gd name="connsiteX443" fmla="*/ 1718932 w 12191998"/>
              <a:gd name="connsiteY443" fmla="*/ 6368203 h 6858000"/>
              <a:gd name="connsiteX444" fmla="*/ 1714700 w 12191998"/>
              <a:gd name="connsiteY444" fmla="*/ 6355083 h 6858000"/>
              <a:gd name="connsiteX445" fmla="*/ 1693720 w 12191998"/>
              <a:gd name="connsiteY445" fmla="*/ 6292324 h 6858000"/>
              <a:gd name="connsiteX446" fmla="*/ 1560738 w 12191998"/>
              <a:gd name="connsiteY446" fmla="*/ 6292324 h 6858000"/>
              <a:gd name="connsiteX447" fmla="*/ 1560738 w 12191998"/>
              <a:gd name="connsiteY447" fmla="*/ 6380960 h 6858000"/>
              <a:gd name="connsiteX448" fmla="*/ 1571621 w 12191998"/>
              <a:gd name="connsiteY448" fmla="*/ 6380960 h 6858000"/>
              <a:gd name="connsiteX449" fmla="*/ 1571621 w 12191998"/>
              <a:gd name="connsiteY449" fmla="*/ 6345832 h 6858000"/>
              <a:gd name="connsiteX450" fmla="*/ 1573434 w 12191998"/>
              <a:gd name="connsiteY450" fmla="*/ 6333982 h 6858000"/>
              <a:gd name="connsiteX451" fmla="*/ 1579511 w 12191998"/>
              <a:gd name="connsiteY451" fmla="*/ 6327180 h 6858000"/>
              <a:gd name="connsiteX452" fmla="*/ 1588610 w 12191998"/>
              <a:gd name="connsiteY452" fmla="*/ 6324671 h 6858000"/>
              <a:gd name="connsiteX453" fmla="*/ 1598617 w 12191998"/>
              <a:gd name="connsiteY453" fmla="*/ 6328389 h 6858000"/>
              <a:gd name="connsiteX454" fmla="*/ 1602154 w 12191998"/>
              <a:gd name="connsiteY454" fmla="*/ 6340270 h 6858000"/>
              <a:gd name="connsiteX455" fmla="*/ 1602154 w 12191998"/>
              <a:gd name="connsiteY455" fmla="*/ 6380960 h 6858000"/>
              <a:gd name="connsiteX456" fmla="*/ 1613037 w 12191998"/>
              <a:gd name="connsiteY456" fmla="*/ 6380960 h 6858000"/>
              <a:gd name="connsiteX457" fmla="*/ 1613037 w 12191998"/>
              <a:gd name="connsiteY457" fmla="*/ 6340270 h 6858000"/>
              <a:gd name="connsiteX458" fmla="*/ 1610770 w 12191998"/>
              <a:gd name="connsiteY458" fmla="*/ 6325880 h 6858000"/>
              <a:gd name="connsiteX459" fmla="*/ 1603242 w 12191998"/>
              <a:gd name="connsiteY459" fmla="*/ 6318111 h 6858000"/>
              <a:gd name="connsiteX460" fmla="*/ 1590847 w 12191998"/>
              <a:gd name="connsiteY460" fmla="*/ 6315299 h 6858000"/>
              <a:gd name="connsiteX461" fmla="*/ 1571621 w 12191998"/>
              <a:gd name="connsiteY461" fmla="*/ 6324127 h 6858000"/>
              <a:gd name="connsiteX462" fmla="*/ 1571621 w 12191998"/>
              <a:gd name="connsiteY462" fmla="*/ 6292324 h 6858000"/>
              <a:gd name="connsiteX463" fmla="*/ 1285541 w 12191998"/>
              <a:gd name="connsiteY463" fmla="*/ 6292324 h 6858000"/>
              <a:gd name="connsiteX464" fmla="*/ 1285541 w 12191998"/>
              <a:gd name="connsiteY464" fmla="*/ 6380960 h 6858000"/>
              <a:gd name="connsiteX465" fmla="*/ 1296847 w 12191998"/>
              <a:gd name="connsiteY465" fmla="*/ 6380960 h 6858000"/>
              <a:gd name="connsiteX466" fmla="*/ 1296847 w 12191998"/>
              <a:gd name="connsiteY466" fmla="*/ 6305504 h 6858000"/>
              <a:gd name="connsiteX467" fmla="*/ 1322483 w 12191998"/>
              <a:gd name="connsiteY467" fmla="*/ 6380960 h 6858000"/>
              <a:gd name="connsiteX468" fmla="*/ 1333063 w 12191998"/>
              <a:gd name="connsiteY468" fmla="*/ 6380960 h 6858000"/>
              <a:gd name="connsiteX469" fmla="*/ 1358820 w 12191998"/>
              <a:gd name="connsiteY469" fmla="*/ 6306774 h 6858000"/>
              <a:gd name="connsiteX470" fmla="*/ 1358820 w 12191998"/>
              <a:gd name="connsiteY470" fmla="*/ 6380960 h 6858000"/>
              <a:gd name="connsiteX471" fmla="*/ 1370126 w 12191998"/>
              <a:gd name="connsiteY471" fmla="*/ 6380960 h 6858000"/>
              <a:gd name="connsiteX472" fmla="*/ 1370126 w 12191998"/>
              <a:gd name="connsiteY472" fmla="*/ 6292324 h 6858000"/>
              <a:gd name="connsiteX473" fmla="*/ 1354346 w 12191998"/>
              <a:gd name="connsiteY473" fmla="*/ 6292324 h 6858000"/>
              <a:gd name="connsiteX474" fmla="*/ 1333124 w 12191998"/>
              <a:gd name="connsiteY474" fmla="*/ 6353994 h 6858000"/>
              <a:gd name="connsiteX475" fmla="*/ 1328408 w 12191998"/>
              <a:gd name="connsiteY475" fmla="*/ 6368203 h 6858000"/>
              <a:gd name="connsiteX476" fmla="*/ 1324175 w 12191998"/>
              <a:gd name="connsiteY476" fmla="*/ 6355083 h 6858000"/>
              <a:gd name="connsiteX477" fmla="*/ 1303195 w 12191998"/>
              <a:gd name="connsiteY477" fmla="*/ 6292324 h 6858000"/>
              <a:gd name="connsiteX478" fmla="*/ 808323 w 12191998"/>
              <a:gd name="connsiteY478" fmla="*/ 6292324 h 6858000"/>
              <a:gd name="connsiteX479" fmla="*/ 808323 w 12191998"/>
              <a:gd name="connsiteY479" fmla="*/ 6304839 h 6858000"/>
              <a:gd name="connsiteX480" fmla="*/ 819206 w 12191998"/>
              <a:gd name="connsiteY480" fmla="*/ 6304839 h 6858000"/>
              <a:gd name="connsiteX481" fmla="*/ 819206 w 12191998"/>
              <a:gd name="connsiteY481" fmla="*/ 6292324 h 6858000"/>
              <a:gd name="connsiteX482" fmla="*/ 608177 w 12191998"/>
              <a:gd name="connsiteY482" fmla="*/ 6292324 h 6858000"/>
              <a:gd name="connsiteX483" fmla="*/ 608177 w 12191998"/>
              <a:gd name="connsiteY483" fmla="*/ 6380960 h 6858000"/>
              <a:gd name="connsiteX484" fmla="*/ 618274 w 12191998"/>
              <a:gd name="connsiteY484" fmla="*/ 6380960 h 6858000"/>
              <a:gd name="connsiteX485" fmla="*/ 618274 w 12191998"/>
              <a:gd name="connsiteY485" fmla="*/ 6372919 h 6858000"/>
              <a:gd name="connsiteX486" fmla="*/ 636110 w 12191998"/>
              <a:gd name="connsiteY486" fmla="*/ 6382411 h 6858000"/>
              <a:gd name="connsiteX487" fmla="*/ 655700 w 12191998"/>
              <a:gd name="connsiteY487" fmla="*/ 6373403 h 6858000"/>
              <a:gd name="connsiteX488" fmla="*/ 663862 w 12191998"/>
              <a:gd name="connsiteY488" fmla="*/ 6347888 h 6858000"/>
              <a:gd name="connsiteX489" fmla="*/ 661927 w 12191998"/>
              <a:gd name="connsiteY489" fmla="*/ 6334828 h 6858000"/>
              <a:gd name="connsiteX490" fmla="*/ 656576 w 12191998"/>
              <a:gd name="connsiteY490" fmla="*/ 6324399 h 6858000"/>
              <a:gd name="connsiteX491" fmla="*/ 647870 w 12191998"/>
              <a:gd name="connsiteY491" fmla="*/ 6317687 h 6858000"/>
              <a:gd name="connsiteX492" fmla="*/ 636654 w 12191998"/>
              <a:gd name="connsiteY492" fmla="*/ 6315299 h 6858000"/>
              <a:gd name="connsiteX493" fmla="*/ 619060 w 12191998"/>
              <a:gd name="connsiteY493" fmla="*/ 6323945 h 6858000"/>
              <a:gd name="connsiteX494" fmla="*/ 619060 w 12191998"/>
              <a:gd name="connsiteY494" fmla="*/ 6292324 h 6858000"/>
              <a:gd name="connsiteX495" fmla="*/ 519634 w 12191998"/>
              <a:gd name="connsiteY495" fmla="*/ 6292324 h 6858000"/>
              <a:gd name="connsiteX496" fmla="*/ 485594 w 12191998"/>
              <a:gd name="connsiteY496" fmla="*/ 6380960 h 6858000"/>
              <a:gd name="connsiteX497" fmla="*/ 498049 w 12191998"/>
              <a:gd name="connsiteY497" fmla="*/ 6380960 h 6858000"/>
              <a:gd name="connsiteX498" fmla="*/ 507783 w 12191998"/>
              <a:gd name="connsiteY498" fmla="*/ 6354115 h 6858000"/>
              <a:gd name="connsiteX499" fmla="*/ 544846 w 12191998"/>
              <a:gd name="connsiteY499" fmla="*/ 6354115 h 6858000"/>
              <a:gd name="connsiteX500" fmla="*/ 555185 w 12191998"/>
              <a:gd name="connsiteY500" fmla="*/ 6380960 h 6858000"/>
              <a:gd name="connsiteX501" fmla="*/ 568547 w 12191998"/>
              <a:gd name="connsiteY501" fmla="*/ 6380960 h 6858000"/>
              <a:gd name="connsiteX502" fmla="*/ 532270 w 12191998"/>
              <a:gd name="connsiteY502" fmla="*/ 6292324 h 6858000"/>
              <a:gd name="connsiteX503" fmla="*/ 1228688 w 12191998"/>
              <a:gd name="connsiteY503" fmla="*/ 6290812 h 6858000"/>
              <a:gd name="connsiteX504" fmla="*/ 1217593 w 12191998"/>
              <a:gd name="connsiteY504" fmla="*/ 6293442 h 6858000"/>
              <a:gd name="connsiteX505" fmla="*/ 1212061 w 12191998"/>
              <a:gd name="connsiteY505" fmla="*/ 6300305 h 6858000"/>
              <a:gd name="connsiteX506" fmla="*/ 1210913 w 12191998"/>
              <a:gd name="connsiteY506" fmla="*/ 6309918 h 6858000"/>
              <a:gd name="connsiteX507" fmla="*/ 1210913 w 12191998"/>
              <a:gd name="connsiteY507" fmla="*/ 6316750 h 6858000"/>
              <a:gd name="connsiteX508" fmla="*/ 1201299 w 12191998"/>
              <a:gd name="connsiteY508" fmla="*/ 6316750 h 6858000"/>
              <a:gd name="connsiteX509" fmla="*/ 1201299 w 12191998"/>
              <a:gd name="connsiteY509" fmla="*/ 6325215 h 6858000"/>
              <a:gd name="connsiteX510" fmla="*/ 1210913 w 12191998"/>
              <a:gd name="connsiteY510" fmla="*/ 6325215 h 6858000"/>
              <a:gd name="connsiteX511" fmla="*/ 1210913 w 12191998"/>
              <a:gd name="connsiteY511" fmla="*/ 6380960 h 6858000"/>
              <a:gd name="connsiteX512" fmla="*/ 1221735 w 12191998"/>
              <a:gd name="connsiteY512" fmla="*/ 6380960 h 6858000"/>
              <a:gd name="connsiteX513" fmla="*/ 1221735 w 12191998"/>
              <a:gd name="connsiteY513" fmla="*/ 6325215 h 6858000"/>
              <a:gd name="connsiteX514" fmla="*/ 1234251 w 12191998"/>
              <a:gd name="connsiteY514" fmla="*/ 6325215 h 6858000"/>
              <a:gd name="connsiteX515" fmla="*/ 1234251 w 12191998"/>
              <a:gd name="connsiteY515" fmla="*/ 6316750 h 6858000"/>
              <a:gd name="connsiteX516" fmla="*/ 1221735 w 12191998"/>
              <a:gd name="connsiteY516" fmla="*/ 6316750 h 6858000"/>
              <a:gd name="connsiteX517" fmla="*/ 1221735 w 12191998"/>
              <a:gd name="connsiteY517" fmla="*/ 6310825 h 6858000"/>
              <a:gd name="connsiteX518" fmla="*/ 1223791 w 12191998"/>
              <a:gd name="connsiteY518" fmla="*/ 6302905 h 6858000"/>
              <a:gd name="connsiteX519" fmla="*/ 1230804 w 12191998"/>
              <a:gd name="connsiteY519" fmla="*/ 6300788 h 6858000"/>
              <a:gd name="connsiteX520" fmla="*/ 1237213 w 12191998"/>
              <a:gd name="connsiteY520" fmla="*/ 6301393 h 6858000"/>
              <a:gd name="connsiteX521" fmla="*/ 1238846 w 12191998"/>
              <a:gd name="connsiteY521" fmla="*/ 6291901 h 6858000"/>
              <a:gd name="connsiteX522" fmla="*/ 1228688 w 12191998"/>
              <a:gd name="connsiteY522" fmla="*/ 6290812 h 6858000"/>
              <a:gd name="connsiteX523" fmla="*/ 2096894 w 12191998"/>
              <a:gd name="connsiteY523" fmla="*/ 521338 h 6858000"/>
              <a:gd name="connsiteX524" fmla="*/ 2138859 w 12191998"/>
              <a:gd name="connsiteY524" fmla="*/ 529890 h 6858000"/>
              <a:gd name="connsiteX525" fmla="*/ 2124714 w 12191998"/>
              <a:gd name="connsiteY525" fmla="*/ 568373 h 6858000"/>
              <a:gd name="connsiteX526" fmla="*/ 2088878 w 12191998"/>
              <a:gd name="connsiteY526" fmla="*/ 581675 h 6858000"/>
              <a:gd name="connsiteX527" fmla="*/ 2063416 w 12191998"/>
              <a:gd name="connsiteY527" fmla="*/ 574074 h 6858000"/>
              <a:gd name="connsiteX528" fmla="*/ 2054457 w 12191998"/>
              <a:gd name="connsiteY528" fmla="*/ 552219 h 6858000"/>
              <a:gd name="connsiteX529" fmla="*/ 2064831 w 12191998"/>
              <a:gd name="connsiteY529" fmla="*/ 529415 h 6858000"/>
              <a:gd name="connsiteX530" fmla="*/ 2096894 w 12191998"/>
              <a:gd name="connsiteY530" fmla="*/ 521338 h 6858000"/>
              <a:gd name="connsiteX531" fmla="*/ 2478849 w 12191998"/>
              <a:gd name="connsiteY531" fmla="*/ 452281 h 6858000"/>
              <a:gd name="connsiteX532" fmla="*/ 2508136 w 12191998"/>
              <a:gd name="connsiteY532" fmla="*/ 460379 h 6858000"/>
              <a:gd name="connsiteX533" fmla="*/ 2527977 w 12191998"/>
              <a:gd name="connsiteY533" fmla="*/ 481814 h 6858000"/>
              <a:gd name="connsiteX534" fmla="*/ 2535062 w 12191998"/>
              <a:gd name="connsiteY534" fmla="*/ 513728 h 6858000"/>
              <a:gd name="connsiteX535" fmla="*/ 2527977 w 12191998"/>
              <a:gd name="connsiteY535" fmla="*/ 545643 h 6858000"/>
              <a:gd name="connsiteX536" fmla="*/ 2508136 w 12191998"/>
              <a:gd name="connsiteY536" fmla="*/ 567078 h 6858000"/>
              <a:gd name="connsiteX537" fmla="*/ 2478849 w 12191998"/>
              <a:gd name="connsiteY537" fmla="*/ 574699 h 6858000"/>
              <a:gd name="connsiteX538" fmla="*/ 2450033 w 12191998"/>
              <a:gd name="connsiteY538" fmla="*/ 567078 h 6858000"/>
              <a:gd name="connsiteX539" fmla="*/ 2430193 w 12191998"/>
              <a:gd name="connsiteY539" fmla="*/ 545643 h 6858000"/>
              <a:gd name="connsiteX540" fmla="*/ 2423107 w 12191998"/>
              <a:gd name="connsiteY540" fmla="*/ 513728 h 6858000"/>
              <a:gd name="connsiteX541" fmla="*/ 2430193 w 12191998"/>
              <a:gd name="connsiteY541" fmla="*/ 481814 h 6858000"/>
              <a:gd name="connsiteX542" fmla="*/ 2450033 w 12191998"/>
              <a:gd name="connsiteY542" fmla="*/ 460379 h 6858000"/>
              <a:gd name="connsiteX543" fmla="*/ 2478849 w 12191998"/>
              <a:gd name="connsiteY543" fmla="*/ 452281 h 6858000"/>
              <a:gd name="connsiteX544" fmla="*/ 3294704 w 12191998"/>
              <a:gd name="connsiteY544" fmla="*/ 447050 h 6858000"/>
              <a:gd name="connsiteX545" fmla="*/ 3326385 w 12191998"/>
              <a:gd name="connsiteY545" fmla="*/ 457554 h 6858000"/>
              <a:gd name="connsiteX546" fmla="*/ 3341990 w 12191998"/>
              <a:gd name="connsiteY546" fmla="*/ 489065 h 6858000"/>
              <a:gd name="connsiteX547" fmla="*/ 3342462 w 12191998"/>
              <a:gd name="connsiteY547" fmla="*/ 496226 h 6858000"/>
              <a:gd name="connsiteX548" fmla="*/ 3244109 w 12191998"/>
              <a:gd name="connsiteY548" fmla="*/ 496226 h 6858000"/>
              <a:gd name="connsiteX549" fmla="*/ 3260659 w 12191998"/>
              <a:gd name="connsiteY549" fmla="*/ 459941 h 6858000"/>
              <a:gd name="connsiteX550" fmla="*/ 3294704 w 12191998"/>
              <a:gd name="connsiteY550" fmla="*/ 447050 h 6858000"/>
              <a:gd name="connsiteX551" fmla="*/ 2701269 w 12191998"/>
              <a:gd name="connsiteY551" fmla="*/ 447050 h 6858000"/>
              <a:gd name="connsiteX552" fmla="*/ 2732837 w 12191998"/>
              <a:gd name="connsiteY552" fmla="*/ 457554 h 6858000"/>
              <a:gd name="connsiteX553" fmla="*/ 2748386 w 12191998"/>
              <a:gd name="connsiteY553" fmla="*/ 489065 h 6858000"/>
              <a:gd name="connsiteX554" fmla="*/ 2748857 w 12191998"/>
              <a:gd name="connsiteY554" fmla="*/ 496226 h 6858000"/>
              <a:gd name="connsiteX555" fmla="*/ 2650853 w 12191998"/>
              <a:gd name="connsiteY555" fmla="*/ 496226 h 6858000"/>
              <a:gd name="connsiteX556" fmla="*/ 2667344 w 12191998"/>
              <a:gd name="connsiteY556" fmla="*/ 459941 h 6858000"/>
              <a:gd name="connsiteX557" fmla="*/ 2701269 w 12191998"/>
              <a:gd name="connsiteY557" fmla="*/ 447050 h 6858000"/>
              <a:gd name="connsiteX558" fmla="*/ 1538977 w 12191998"/>
              <a:gd name="connsiteY558" fmla="*/ 418451 h 6858000"/>
              <a:gd name="connsiteX559" fmla="*/ 1620129 w 12191998"/>
              <a:gd name="connsiteY559" fmla="*/ 603138 h 6858000"/>
              <a:gd name="connsiteX560" fmla="*/ 1601257 w 12191998"/>
              <a:gd name="connsiteY560" fmla="*/ 633126 h 6858000"/>
              <a:gd name="connsiteX561" fmla="*/ 1575779 w 12191998"/>
              <a:gd name="connsiteY561" fmla="*/ 640741 h 6858000"/>
              <a:gd name="connsiteX562" fmla="*/ 1560209 w 12191998"/>
              <a:gd name="connsiteY562" fmla="*/ 638837 h 6858000"/>
              <a:gd name="connsiteX563" fmla="*/ 1545583 w 12191998"/>
              <a:gd name="connsiteY563" fmla="*/ 634077 h 6858000"/>
              <a:gd name="connsiteX564" fmla="*/ 1545583 w 12191998"/>
              <a:gd name="connsiteY564" fmla="*/ 673585 h 6858000"/>
              <a:gd name="connsiteX565" fmla="*/ 1561624 w 12191998"/>
              <a:gd name="connsiteY565" fmla="*/ 678345 h 6858000"/>
              <a:gd name="connsiteX566" fmla="*/ 1578138 w 12191998"/>
              <a:gd name="connsiteY566" fmla="*/ 680725 h 6858000"/>
              <a:gd name="connsiteX567" fmla="*/ 1610221 w 12191998"/>
              <a:gd name="connsiteY567" fmla="*/ 674537 h 6858000"/>
              <a:gd name="connsiteX568" fmla="*/ 1638058 w 12191998"/>
              <a:gd name="connsiteY568" fmla="*/ 652165 h 6858000"/>
              <a:gd name="connsiteX569" fmla="*/ 1664008 w 12191998"/>
              <a:gd name="connsiteY569" fmla="*/ 605042 h 6858000"/>
              <a:gd name="connsiteX570" fmla="*/ 1740914 w 12191998"/>
              <a:gd name="connsiteY570" fmla="*/ 418451 h 6858000"/>
              <a:gd name="connsiteX571" fmla="*/ 1697979 w 12191998"/>
              <a:gd name="connsiteY571" fmla="*/ 418451 h 6858000"/>
              <a:gd name="connsiteX572" fmla="*/ 1642777 w 12191998"/>
              <a:gd name="connsiteY572" fmla="*/ 552682 h 6858000"/>
              <a:gd name="connsiteX573" fmla="*/ 1583800 w 12191998"/>
              <a:gd name="connsiteY573" fmla="*/ 418451 h 6858000"/>
              <a:gd name="connsiteX574" fmla="*/ 1538977 w 12191998"/>
              <a:gd name="connsiteY574" fmla="*/ 418451 h 6858000"/>
              <a:gd name="connsiteX575" fmla="*/ 1338434 w 12191998"/>
              <a:gd name="connsiteY575" fmla="*/ 418451 h 6858000"/>
              <a:gd name="connsiteX576" fmla="*/ 1338434 w 12191998"/>
              <a:gd name="connsiteY576" fmla="*/ 537864 h 6858000"/>
              <a:gd name="connsiteX577" fmla="*/ 1355442 w 12191998"/>
              <a:gd name="connsiteY577" fmla="*/ 594478 h 6858000"/>
              <a:gd name="connsiteX578" fmla="*/ 1404102 w 12191998"/>
              <a:gd name="connsiteY578" fmla="*/ 614459 h 6858000"/>
              <a:gd name="connsiteX579" fmla="*/ 1441897 w 12191998"/>
              <a:gd name="connsiteY579" fmla="*/ 605420 h 6858000"/>
              <a:gd name="connsiteX580" fmla="*/ 1465518 w 12191998"/>
              <a:gd name="connsiteY580" fmla="*/ 579254 h 6858000"/>
              <a:gd name="connsiteX581" fmla="*/ 1466463 w 12191998"/>
              <a:gd name="connsiteY581" fmla="*/ 608274 h 6858000"/>
              <a:gd name="connsiteX582" fmla="*/ 1508982 w 12191998"/>
              <a:gd name="connsiteY582" fmla="*/ 608274 h 6858000"/>
              <a:gd name="connsiteX583" fmla="*/ 1508982 w 12191998"/>
              <a:gd name="connsiteY583" fmla="*/ 418451 h 6858000"/>
              <a:gd name="connsiteX584" fmla="*/ 1464574 w 12191998"/>
              <a:gd name="connsiteY584" fmla="*/ 418451 h 6858000"/>
              <a:gd name="connsiteX585" fmla="*/ 1464574 w 12191998"/>
              <a:gd name="connsiteY585" fmla="*/ 521688 h 6858000"/>
              <a:gd name="connsiteX586" fmla="*/ 1453235 w 12191998"/>
              <a:gd name="connsiteY586" fmla="*/ 560700 h 6858000"/>
              <a:gd name="connsiteX587" fmla="*/ 1421110 w 12191998"/>
              <a:gd name="connsiteY587" fmla="*/ 574972 h 6858000"/>
              <a:gd name="connsiteX588" fmla="*/ 1391819 w 12191998"/>
              <a:gd name="connsiteY588" fmla="*/ 563554 h 6858000"/>
              <a:gd name="connsiteX589" fmla="*/ 1382843 w 12191998"/>
              <a:gd name="connsiteY589" fmla="*/ 527397 h 6858000"/>
              <a:gd name="connsiteX590" fmla="*/ 1382843 w 12191998"/>
              <a:gd name="connsiteY590" fmla="*/ 418451 h 6858000"/>
              <a:gd name="connsiteX591" fmla="*/ 1338434 w 12191998"/>
              <a:gd name="connsiteY591" fmla="*/ 418451 h 6858000"/>
              <a:gd name="connsiteX592" fmla="*/ 3524091 w 12191998"/>
              <a:gd name="connsiteY592" fmla="*/ 415661 h 6858000"/>
              <a:gd name="connsiteX593" fmla="*/ 3489531 w 12191998"/>
              <a:gd name="connsiteY593" fmla="*/ 427090 h 6858000"/>
              <a:gd name="connsiteX594" fmla="*/ 3466334 w 12191998"/>
              <a:gd name="connsiteY594" fmla="*/ 458045 h 6858000"/>
              <a:gd name="connsiteX595" fmla="*/ 3466334 w 12191998"/>
              <a:gd name="connsiteY595" fmla="*/ 418518 h 6858000"/>
              <a:gd name="connsiteX596" fmla="*/ 3423725 w 12191998"/>
              <a:gd name="connsiteY596" fmla="*/ 418518 h 6858000"/>
              <a:gd name="connsiteX597" fmla="*/ 3423725 w 12191998"/>
              <a:gd name="connsiteY597" fmla="*/ 608530 h 6858000"/>
              <a:gd name="connsiteX598" fmla="*/ 3468227 w 12191998"/>
              <a:gd name="connsiteY598" fmla="*/ 608530 h 6858000"/>
              <a:gd name="connsiteX599" fmla="*/ 3468227 w 12191998"/>
              <a:gd name="connsiteY599" fmla="*/ 519953 h 6858000"/>
              <a:gd name="connsiteX600" fmla="*/ 3481010 w 12191998"/>
              <a:gd name="connsiteY600" fmla="*/ 473284 h 6858000"/>
              <a:gd name="connsiteX601" fmla="*/ 3518411 w 12191998"/>
              <a:gd name="connsiteY601" fmla="*/ 457568 h 6858000"/>
              <a:gd name="connsiteX602" fmla="*/ 3534507 w 12191998"/>
              <a:gd name="connsiteY602" fmla="*/ 458997 h 6858000"/>
              <a:gd name="connsiteX603" fmla="*/ 3548236 w 12191998"/>
              <a:gd name="connsiteY603" fmla="*/ 461854 h 6858000"/>
              <a:gd name="connsiteX604" fmla="*/ 3548236 w 12191998"/>
              <a:gd name="connsiteY604" fmla="*/ 419471 h 6858000"/>
              <a:gd name="connsiteX605" fmla="*/ 3536401 w 12191998"/>
              <a:gd name="connsiteY605" fmla="*/ 416614 h 6858000"/>
              <a:gd name="connsiteX606" fmla="*/ 3524091 w 12191998"/>
              <a:gd name="connsiteY606" fmla="*/ 415661 h 6858000"/>
              <a:gd name="connsiteX607" fmla="*/ 2326486 w 12191998"/>
              <a:gd name="connsiteY607" fmla="*/ 415661 h 6858000"/>
              <a:gd name="connsiteX608" fmla="*/ 2292023 w 12191998"/>
              <a:gd name="connsiteY608" fmla="*/ 427090 h 6858000"/>
              <a:gd name="connsiteX609" fmla="*/ 2268890 w 12191998"/>
              <a:gd name="connsiteY609" fmla="*/ 458045 h 6858000"/>
              <a:gd name="connsiteX610" fmla="*/ 2268890 w 12191998"/>
              <a:gd name="connsiteY610" fmla="*/ 418518 h 6858000"/>
              <a:gd name="connsiteX611" fmla="*/ 2226401 w 12191998"/>
              <a:gd name="connsiteY611" fmla="*/ 418518 h 6858000"/>
              <a:gd name="connsiteX612" fmla="*/ 2226401 w 12191998"/>
              <a:gd name="connsiteY612" fmla="*/ 608530 h 6858000"/>
              <a:gd name="connsiteX613" fmla="*/ 2270778 w 12191998"/>
              <a:gd name="connsiteY613" fmla="*/ 608530 h 6858000"/>
              <a:gd name="connsiteX614" fmla="*/ 2270778 w 12191998"/>
              <a:gd name="connsiteY614" fmla="*/ 519953 h 6858000"/>
              <a:gd name="connsiteX615" fmla="*/ 2283525 w 12191998"/>
              <a:gd name="connsiteY615" fmla="*/ 473284 h 6858000"/>
              <a:gd name="connsiteX616" fmla="*/ 2320821 w 12191998"/>
              <a:gd name="connsiteY616" fmla="*/ 457568 h 6858000"/>
              <a:gd name="connsiteX617" fmla="*/ 2336400 w 12191998"/>
              <a:gd name="connsiteY617" fmla="*/ 458997 h 6858000"/>
              <a:gd name="connsiteX618" fmla="*/ 2350563 w 12191998"/>
              <a:gd name="connsiteY618" fmla="*/ 461854 h 6858000"/>
              <a:gd name="connsiteX619" fmla="*/ 2350563 w 12191998"/>
              <a:gd name="connsiteY619" fmla="*/ 419471 h 6858000"/>
              <a:gd name="connsiteX620" fmla="*/ 2338761 w 12191998"/>
              <a:gd name="connsiteY620" fmla="*/ 416614 h 6858000"/>
              <a:gd name="connsiteX621" fmla="*/ 2326486 w 12191998"/>
              <a:gd name="connsiteY621" fmla="*/ 415661 h 6858000"/>
              <a:gd name="connsiteX622" fmla="*/ 3296720 w 12191998"/>
              <a:gd name="connsiteY622" fmla="*/ 412871 h 6858000"/>
              <a:gd name="connsiteX623" fmla="*/ 3247547 w 12191998"/>
              <a:gd name="connsiteY623" fmla="*/ 425708 h 6858000"/>
              <a:gd name="connsiteX624" fmla="*/ 3213505 w 12191998"/>
              <a:gd name="connsiteY624" fmla="*/ 461366 h 6858000"/>
              <a:gd name="connsiteX625" fmla="*/ 3201211 w 12191998"/>
              <a:gd name="connsiteY625" fmla="*/ 514141 h 6858000"/>
              <a:gd name="connsiteX626" fmla="*/ 3214923 w 12191998"/>
              <a:gd name="connsiteY626" fmla="*/ 568817 h 6858000"/>
              <a:gd name="connsiteX627" fmla="*/ 3252748 w 12191998"/>
              <a:gd name="connsiteY627" fmla="*/ 603049 h 6858000"/>
              <a:gd name="connsiteX628" fmla="*/ 3307122 w 12191998"/>
              <a:gd name="connsiteY628" fmla="*/ 614459 h 6858000"/>
              <a:gd name="connsiteX629" fmla="*/ 3344948 w 12191998"/>
              <a:gd name="connsiteY629" fmla="*/ 608278 h 6858000"/>
              <a:gd name="connsiteX630" fmla="*/ 3378518 w 12191998"/>
              <a:gd name="connsiteY630" fmla="*/ 592113 h 6858000"/>
              <a:gd name="connsiteX631" fmla="*/ 3378518 w 12191998"/>
              <a:gd name="connsiteY631" fmla="*/ 553127 h 6858000"/>
              <a:gd name="connsiteX632" fmla="*/ 3311378 w 12191998"/>
              <a:gd name="connsiteY632" fmla="*/ 575948 h 6858000"/>
              <a:gd name="connsiteX633" fmla="*/ 3265514 w 12191998"/>
              <a:gd name="connsiteY633" fmla="*/ 562636 h 6858000"/>
              <a:gd name="connsiteX634" fmla="*/ 3244238 w 12191998"/>
              <a:gd name="connsiteY634" fmla="*/ 525551 h 6858000"/>
              <a:gd name="connsiteX635" fmla="*/ 3383246 w 12191998"/>
              <a:gd name="connsiteY635" fmla="*/ 525551 h 6858000"/>
              <a:gd name="connsiteX636" fmla="*/ 3384192 w 12191998"/>
              <a:gd name="connsiteY636" fmla="*/ 514141 h 6858000"/>
              <a:gd name="connsiteX637" fmla="*/ 3384664 w 12191998"/>
              <a:gd name="connsiteY637" fmla="*/ 506533 h 6858000"/>
              <a:gd name="connsiteX638" fmla="*/ 3373790 w 12191998"/>
              <a:gd name="connsiteY638" fmla="*/ 457087 h 6858000"/>
              <a:gd name="connsiteX639" fmla="*/ 3343056 w 12191998"/>
              <a:gd name="connsiteY639" fmla="*/ 424282 h 6858000"/>
              <a:gd name="connsiteX640" fmla="*/ 3296720 w 12191998"/>
              <a:gd name="connsiteY640" fmla="*/ 412871 h 6858000"/>
              <a:gd name="connsiteX641" fmla="*/ 2933385 w 12191998"/>
              <a:gd name="connsiteY641" fmla="*/ 412871 h 6858000"/>
              <a:gd name="connsiteX642" fmla="*/ 2897034 w 12191998"/>
              <a:gd name="connsiteY642" fmla="*/ 422392 h 6858000"/>
              <a:gd name="connsiteX643" fmla="*/ 2873430 w 12191998"/>
              <a:gd name="connsiteY643" fmla="*/ 449051 h 6858000"/>
              <a:gd name="connsiteX644" fmla="*/ 2872957 w 12191998"/>
              <a:gd name="connsiteY644" fmla="*/ 418584 h 6858000"/>
              <a:gd name="connsiteX645" fmla="*/ 2830469 w 12191998"/>
              <a:gd name="connsiteY645" fmla="*/ 418584 h 6858000"/>
              <a:gd name="connsiteX646" fmla="*/ 2830469 w 12191998"/>
              <a:gd name="connsiteY646" fmla="*/ 608530 h 6858000"/>
              <a:gd name="connsiteX647" fmla="*/ 2874846 w 12191998"/>
              <a:gd name="connsiteY647" fmla="*/ 608530 h 6858000"/>
              <a:gd name="connsiteX648" fmla="*/ 2874846 w 12191998"/>
              <a:gd name="connsiteY648" fmla="*/ 505702 h 6858000"/>
              <a:gd name="connsiteX649" fmla="*/ 2886648 w 12191998"/>
              <a:gd name="connsiteY649" fmla="*/ 466189 h 6858000"/>
              <a:gd name="connsiteX650" fmla="*/ 2919695 w 12191998"/>
              <a:gd name="connsiteY650" fmla="*/ 452384 h 6858000"/>
              <a:gd name="connsiteX651" fmla="*/ 2957462 w 12191998"/>
              <a:gd name="connsiteY651" fmla="*/ 501894 h 6858000"/>
              <a:gd name="connsiteX652" fmla="*/ 2957462 w 12191998"/>
              <a:gd name="connsiteY652" fmla="*/ 608530 h 6858000"/>
              <a:gd name="connsiteX653" fmla="*/ 3001366 w 12191998"/>
              <a:gd name="connsiteY653" fmla="*/ 608530 h 6858000"/>
              <a:gd name="connsiteX654" fmla="*/ 3001366 w 12191998"/>
              <a:gd name="connsiteY654" fmla="*/ 493801 h 6858000"/>
              <a:gd name="connsiteX655" fmla="*/ 2983899 w 12191998"/>
              <a:gd name="connsiteY655" fmla="*/ 433818 h 6858000"/>
              <a:gd name="connsiteX656" fmla="*/ 2933385 w 12191998"/>
              <a:gd name="connsiteY656" fmla="*/ 412871 h 6858000"/>
              <a:gd name="connsiteX657" fmla="*/ 2703114 w 12191998"/>
              <a:gd name="connsiteY657" fmla="*/ 412871 h 6858000"/>
              <a:gd name="connsiteX658" fmla="*/ 2653941 w 12191998"/>
              <a:gd name="connsiteY658" fmla="*/ 425708 h 6858000"/>
              <a:gd name="connsiteX659" fmla="*/ 2619899 w 12191998"/>
              <a:gd name="connsiteY659" fmla="*/ 461366 h 6858000"/>
              <a:gd name="connsiteX660" fmla="*/ 2607605 w 12191998"/>
              <a:gd name="connsiteY660" fmla="*/ 514141 h 6858000"/>
              <a:gd name="connsiteX661" fmla="*/ 2621317 w 12191998"/>
              <a:gd name="connsiteY661" fmla="*/ 568817 h 6858000"/>
              <a:gd name="connsiteX662" fmla="*/ 2659142 w 12191998"/>
              <a:gd name="connsiteY662" fmla="*/ 603049 h 6858000"/>
              <a:gd name="connsiteX663" fmla="*/ 2713516 w 12191998"/>
              <a:gd name="connsiteY663" fmla="*/ 614459 h 6858000"/>
              <a:gd name="connsiteX664" fmla="*/ 2751342 w 12191998"/>
              <a:gd name="connsiteY664" fmla="*/ 608278 h 6858000"/>
              <a:gd name="connsiteX665" fmla="*/ 2784912 w 12191998"/>
              <a:gd name="connsiteY665" fmla="*/ 592113 h 6858000"/>
              <a:gd name="connsiteX666" fmla="*/ 2784912 w 12191998"/>
              <a:gd name="connsiteY666" fmla="*/ 553127 h 6858000"/>
              <a:gd name="connsiteX667" fmla="*/ 2717771 w 12191998"/>
              <a:gd name="connsiteY667" fmla="*/ 575948 h 6858000"/>
              <a:gd name="connsiteX668" fmla="*/ 2671908 w 12191998"/>
              <a:gd name="connsiteY668" fmla="*/ 562636 h 6858000"/>
              <a:gd name="connsiteX669" fmla="*/ 2650632 w 12191998"/>
              <a:gd name="connsiteY669" fmla="*/ 525551 h 6858000"/>
              <a:gd name="connsiteX670" fmla="*/ 2789640 w 12191998"/>
              <a:gd name="connsiteY670" fmla="*/ 525551 h 6858000"/>
              <a:gd name="connsiteX671" fmla="*/ 2790586 w 12191998"/>
              <a:gd name="connsiteY671" fmla="*/ 514141 h 6858000"/>
              <a:gd name="connsiteX672" fmla="*/ 2791058 w 12191998"/>
              <a:gd name="connsiteY672" fmla="*/ 506533 h 6858000"/>
              <a:gd name="connsiteX673" fmla="*/ 2780184 w 12191998"/>
              <a:gd name="connsiteY673" fmla="*/ 457087 h 6858000"/>
              <a:gd name="connsiteX674" fmla="*/ 2749450 w 12191998"/>
              <a:gd name="connsiteY674" fmla="*/ 424282 h 6858000"/>
              <a:gd name="connsiteX675" fmla="*/ 2703114 w 12191998"/>
              <a:gd name="connsiteY675" fmla="*/ 412871 h 6858000"/>
              <a:gd name="connsiteX676" fmla="*/ 2491416 w 12191998"/>
              <a:gd name="connsiteY676" fmla="*/ 412871 h 6858000"/>
              <a:gd name="connsiteX677" fmla="*/ 2451701 w 12191998"/>
              <a:gd name="connsiteY677" fmla="*/ 422381 h 6858000"/>
              <a:gd name="connsiteX678" fmla="*/ 2423806 w 12191998"/>
              <a:gd name="connsiteY678" fmla="*/ 450910 h 6858000"/>
              <a:gd name="connsiteX679" fmla="*/ 2423806 w 12191998"/>
              <a:gd name="connsiteY679" fmla="*/ 418577 h 6858000"/>
              <a:gd name="connsiteX680" fmla="*/ 2381254 w 12191998"/>
              <a:gd name="connsiteY680" fmla="*/ 418577 h 6858000"/>
              <a:gd name="connsiteX681" fmla="*/ 2381254 w 12191998"/>
              <a:gd name="connsiteY681" fmla="*/ 677238 h 6858000"/>
              <a:gd name="connsiteX682" fmla="*/ 2425697 w 12191998"/>
              <a:gd name="connsiteY682" fmla="*/ 677238 h 6858000"/>
              <a:gd name="connsiteX683" fmla="*/ 2425697 w 12191998"/>
              <a:gd name="connsiteY683" fmla="*/ 579765 h 6858000"/>
              <a:gd name="connsiteX684" fmla="*/ 2451701 w 12191998"/>
              <a:gd name="connsiteY684" fmla="*/ 605441 h 6858000"/>
              <a:gd name="connsiteX685" fmla="*/ 2488106 w 12191998"/>
              <a:gd name="connsiteY685" fmla="*/ 614475 h 6858000"/>
              <a:gd name="connsiteX686" fmla="*/ 2523566 w 12191998"/>
              <a:gd name="connsiteY686" fmla="*/ 606867 h 6858000"/>
              <a:gd name="connsiteX687" fmla="*/ 2552879 w 12191998"/>
              <a:gd name="connsiteY687" fmla="*/ 584995 h 6858000"/>
              <a:gd name="connsiteX688" fmla="*/ 2572263 w 12191998"/>
              <a:gd name="connsiteY688" fmla="*/ 553138 h 6858000"/>
              <a:gd name="connsiteX689" fmla="*/ 2579355 w 12191998"/>
              <a:gd name="connsiteY689" fmla="*/ 513197 h 6858000"/>
              <a:gd name="connsiteX690" fmla="*/ 2568008 w 12191998"/>
              <a:gd name="connsiteY690" fmla="*/ 461370 h 6858000"/>
              <a:gd name="connsiteX691" fmla="*/ 2536804 w 12191998"/>
              <a:gd name="connsiteY691" fmla="*/ 425709 h 6858000"/>
              <a:gd name="connsiteX692" fmla="*/ 2491416 w 12191998"/>
              <a:gd name="connsiteY692" fmla="*/ 412871 h 6858000"/>
              <a:gd name="connsiteX693" fmla="*/ 2092586 w 12191998"/>
              <a:gd name="connsiteY693" fmla="*/ 412871 h 6858000"/>
              <a:gd name="connsiteX694" fmla="*/ 2056618 w 12191998"/>
              <a:gd name="connsiteY694" fmla="*/ 418101 h 6858000"/>
              <a:gd name="connsiteX695" fmla="*/ 2026330 w 12191998"/>
              <a:gd name="connsiteY695" fmla="*/ 430938 h 6858000"/>
              <a:gd name="connsiteX696" fmla="*/ 2026330 w 12191998"/>
              <a:gd name="connsiteY696" fmla="*/ 469924 h 6858000"/>
              <a:gd name="connsiteX697" fmla="*/ 2056618 w 12191998"/>
              <a:gd name="connsiteY697" fmla="*/ 455661 h 6858000"/>
              <a:gd name="connsiteX698" fmla="*/ 2088326 w 12191998"/>
              <a:gd name="connsiteY698" fmla="*/ 450431 h 6858000"/>
              <a:gd name="connsiteX699" fmla="*/ 2127134 w 12191998"/>
              <a:gd name="connsiteY699" fmla="*/ 463268 h 6858000"/>
              <a:gd name="connsiteX700" fmla="*/ 2139438 w 12191998"/>
              <a:gd name="connsiteY700" fmla="*/ 499402 h 6858000"/>
              <a:gd name="connsiteX701" fmla="*/ 2139438 w 12191998"/>
              <a:gd name="connsiteY701" fmla="*/ 500353 h 6858000"/>
              <a:gd name="connsiteX702" fmla="*/ 2089746 w 12191998"/>
              <a:gd name="connsiteY702" fmla="*/ 490844 h 6858000"/>
              <a:gd name="connsiteX703" fmla="*/ 2049046 w 12191998"/>
              <a:gd name="connsiteY703" fmla="*/ 498926 h 6858000"/>
              <a:gd name="connsiteX704" fmla="*/ 2022070 w 12191998"/>
              <a:gd name="connsiteY704" fmla="*/ 521272 h 6858000"/>
              <a:gd name="connsiteX705" fmla="*/ 2012605 w 12191998"/>
              <a:gd name="connsiteY705" fmla="*/ 555029 h 6858000"/>
              <a:gd name="connsiteX706" fmla="*/ 2030589 w 12191998"/>
              <a:gd name="connsiteY706" fmla="*/ 598294 h 6858000"/>
              <a:gd name="connsiteX707" fmla="*/ 2077915 w 12191998"/>
              <a:gd name="connsiteY707" fmla="*/ 614459 h 6858000"/>
              <a:gd name="connsiteX708" fmla="*/ 2115776 w 12191998"/>
              <a:gd name="connsiteY708" fmla="*/ 605426 h 6858000"/>
              <a:gd name="connsiteX709" fmla="*/ 2140858 w 12191998"/>
              <a:gd name="connsiteY709" fmla="*/ 580703 h 6858000"/>
              <a:gd name="connsiteX710" fmla="*/ 2141331 w 12191998"/>
              <a:gd name="connsiteY710" fmla="*/ 608278 h 6858000"/>
              <a:gd name="connsiteX711" fmla="*/ 2179665 w 12191998"/>
              <a:gd name="connsiteY711" fmla="*/ 608278 h 6858000"/>
              <a:gd name="connsiteX712" fmla="*/ 2179665 w 12191998"/>
              <a:gd name="connsiteY712" fmla="*/ 496549 h 6858000"/>
              <a:gd name="connsiteX713" fmla="*/ 2157422 w 12191998"/>
              <a:gd name="connsiteY713" fmla="*/ 434266 h 6858000"/>
              <a:gd name="connsiteX714" fmla="*/ 2092586 w 12191998"/>
              <a:gd name="connsiteY714" fmla="*/ 412871 h 6858000"/>
              <a:gd name="connsiteX715" fmla="*/ 3067069 w 12191998"/>
              <a:gd name="connsiteY715" fmla="*/ 371367 h 6858000"/>
              <a:gd name="connsiteX716" fmla="*/ 3067069 w 12191998"/>
              <a:gd name="connsiteY716" fmla="*/ 421793 h 6858000"/>
              <a:gd name="connsiteX717" fmla="*/ 3027872 w 12191998"/>
              <a:gd name="connsiteY717" fmla="*/ 421793 h 6858000"/>
              <a:gd name="connsiteX718" fmla="*/ 3027872 w 12191998"/>
              <a:gd name="connsiteY718" fmla="*/ 458899 h 6858000"/>
              <a:gd name="connsiteX719" fmla="*/ 3067069 w 12191998"/>
              <a:gd name="connsiteY719" fmla="*/ 458899 h 6858000"/>
              <a:gd name="connsiteX720" fmla="*/ 3067069 w 12191998"/>
              <a:gd name="connsiteY720" fmla="*/ 538820 h 6858000"/>
              <a:gd name="connsiteX721" fmla="*/ 3083125 w 12191998"/>
              <a:gd name="connsiteY721" fmla="*/ 594955 h 6858000"/>
              <a:gd name="connsiteX722" fmla="*/ 3132238 w 12191998"/>
              <a:gd name="connsiteY722" fmla="*/ 614459 h 6858000"/>
              <a:gd name="connsiteX723" fmla="*/ 3157268 w 12191998"/>
              <a:gd name="connsiteY723" fmla="*/ 611605 h 6858000"/>
              <a:gd name="connsiteX724" fmla="*/ 3179935 w 12191998"/>
              <a:gd name="connsiteY724" fmla="*/ 603518 h 6858000"/>
              <a:gd name="connsiteX725" fmla="*/ 3179935 w 12191998"/>
              <a:gd name="connsiteY725" fmla="*/ 563082 h 6858000"/>
              <a:gd name="connsiteX726" fmla="*/ 3161518 w 12191998"/>
              <a:gd name="connsiteY726" fmla="*/ 571169 h 6858000"/>
              <a:gd name="connsiteX727" fmla="*/ 3140267 w 12191998"/>
              <a:gd name="connsiteY727" fmla="*/ 574499 h 6858000"/>
              <a:gd name="connsiteX728" fmla="*/ 3118071 w 12191998"/>
              <a:gd name="connsiteY728" fmla="*/ 564984 h 6858000"/>
              <a:gd name="connsiteX729" fmla="*/ 3110988 w 12191998"/>
              <a:gd name="connsiteY729" fmla="*/ 535014 h 6858000"/>
              <a:gd name="connsiteX730" fmla="*/ 3110988 w 12191998"/>
              <a:gd name="connsiteY730" fmla="*/ 458899 h 6858000"/>
              <a:gd name="connsiteX731" fmla="*/ 3172379 w 12191998"/>
              <a:gd name="connsiteY731" fmla="*/ 458899 h 6858000"/>
              <a:gd name="connsiteX732" fmla="*/ 3172379 w 12191998"/>
              <a:gd name="connsiteY732" fmla="*/ 421793 h 6858000"/>
              <a:gd name="connsiteX733" fmla="*/ 3110988 w 12191998"/>
              <a:gd name="connsiteY733" fmla="*/ 421793 h 6858000"/>
              <a:gd name="connsiteX734" fmla="*/ 3110988 w 12191998"/>
              <a:gd name="connsiteY734" fmla="*/ 371367 h 6858000"/>
              <a:gd name="connsiteX735" fmla="*/ 3067069 w 12191998"/>
              <a:gd name="connsiteY735" fmla="*/ 371367 h 6858000"/>
              <a:gd name="connsiteX736" fmla="*/ 1901415 w 12191998"/>
              <a:gd name="connsiteY736" fmla="*/ 352534 h 6858000"/>
              <a:gd name="connsiteX737" fmla="*/ 1847066 w 12191998"/>
              <a:gd name="connsiteY737" fmla="*/ 362041 h 6858000"/>
              <a:gd name="connsiteX738" fmla="*/ 1804531 w 12191998"/>
              <a:gd name="connsiteY738" fmla="*/ 389137 h 6858000"/>
              <a:gd name="connsiteX739" fmla="*/ 1776648 w 12191998"/>
              <a:gd name="connsiteY739" fmla="*/ 430494 h 6858000"/>
              <a:gd name="connsiteX740" fmla="*/ 1766723 w 12191998"/>
              <a:gd name="connsiteY740" fmla="*/ 483259 h 6858000"/>
              <a:gd name="connsiteX741" fmla="*/ 1783264 w 12191998"/>
              <a:gd name="connsiteY741" fmla="*/ 552662 h 6858000"/>
              <a:gd name="connsiteX742" fmla="*/ 1829579 w 12191998"/>
              <a:gd name="connsiteY742" fmla="*/ 598297 h 6858000"/>
              <a:gd name="connsiteX743" fmla="*/ 1898579 w 12191998"/>
              <a:gd name="connsiteY743" fmla="*/ 614459 h 6858000"/>
              <a:gd name="connsiteX744" fmla="*/ 1940168 w 12191998"/>
              <a:gd name="connsiteY744" fmla="*/ 609706 h 6858000"/>
              <a:gd name="connsiteX745" fmla="*/ 1977031 w 12191998"/>
              <a:gd name="connsiteY745" fmla="*/ 596395 h 6858000"/>
              <a:gd name="connsiteX746" fmla="*/ 1977031 w 12191998"/>
              <a:gd name="connsiteY746" fmla="*/ 554088 h 6858000"/>
              <a:gd name="connsiteX747" fmla="*/ 1939696 w 12191998"/>
              <a:gd name="connsiteY747" fmla="*/ 567398 h 6858000"/>
              <a:gd name="connsiteX748" fmla="*/ 1902360 w 12191998"/>
              <a:gd name="connsiteY748" fmla="*/ 572152 h 6858000"/>
              <a:gd name="connsiteX749" fmla="*/ 1855573 w 12191998"/>
              <a:gd name="connsiteY749" fmla="*/ 561694 h 6858000"/>
              <a:gd name="connsiteX750" fmla="*/ 1824853 w 12191998"/>
              <a:gd name="connsiteY750" fmla="*/ 530795 h 6858000"/>
              <a:gd name="connsiteX751" fmla="*/ 1814456 w 12191998"/>
              <a:gd name="connsiteY751" fmla="*/ 483259 h 6858000"/>
              <a:gd name="connsiteX752" fmla="*/ 1825326 w 12191998"/>
              <a:gd name="connsiteY752" fmla="*/ 436673 h 6858000"/>
              <a:gd name="connsiteX753" fmla="*/ 1856045 w 12191998"/>
              <a:gd name="connsiteY753" fmla="*/ 405775 h 6858000"/>
              <a:gd name="connsiteX754" fmla="*/ 1901415 w 12191998"/>
              <a:gd name="connsiteY754" fmla="*/ 394841 h 6858000"/>
              <a:gd name="connsiteX755" fmla="*/ 1937805 w 12191998"/>
              <a:gd name="connsiteY755" fmla="*/ 399595 h 6858000"/>
              <a:gd name="connsiteX756" fmla="*/ 1977031 w 12191998"/>
              <a:gd name="connsiteY756" fmla="*/ 415282 h 6858000"/>
              <a:gd name="connsiteX757" fmla="*/ 1977031 w 12191998"/>
              <a:gd name="connsiteY757" fmla="*/ 371549 h 6858000"/>
              <a:gd name="connsiteX758" fmla="*/ 1942059 w 12191998"/>
              <a:gd name="connsiteY758" fmla="*/ 357763 h 6858000"/>
              <a:gd name="connsiteX759" fmla="*/ 1901415 w 12191998"/>
              <a:gd name="connsiteY759" fmla="*/ 352534 h 6858000"/>
              <a:gd name="connsiteX760" fmla="*/ 1201412 w 12191998"/>
              <a:gd name="connsiteY760" fmla="*/ 352534 h 6858000"/>
              <a:gd name="connsiteX761" fmla="*/ 1129087 w 12191998"/>
              <a:gd name="connsiteY761" fmla="*/ 369172 h 6858000"/>
              <a:gd name="connsiteX762" fmla="*/ 1080398 w 12191998"/>
              <a:gd name="connsiteY762" fmla="*/ 415282 h 6858000"/>
              <a:gd name="connsiteX763" fmla="*/ 1062907 w 12191998"/>
              <a:gd name="connsiteY763" fmla="*/ 484210 h 6858000"/>
              <a:gd name="connsiteX764" fmla="*/ 1079452 w 12191998"/>
              <a:gd name="connsiteY764" fmla="*/ 553137 h 6858000"/>
              <a:gd name="connsiteX765" fmla="*/ 1126723 w 12191998"/>
              <a:gd name="connsiteY765" fmla="*/ 598297 h 6858000"/>
              <a:gd name="connsiteX766" fmla="*/ 1197630 w 12191998"/>
              <a:gd name="connsiteY766" fmla="*/ 614459 h 6858000"/>
              <a:gd name="connsiteX767" fmla="*/ 1291700 w 12191998"/>
              <a:gd name="connsiteY767" fmla="*/ 595920 h 6858000"/>
              <a:gd name="connsiteX768" fmla="*/ 1291700 w 12191998"/>
              <a:gd name="connsiteY768" fmla="*/ 470899 h 6858000"/>
              <a:gd name="connsiteX769" fmla="*/ 1198103 w 12191998"/>
              <a:gd name="connsiteY769" fmla="*/ 470899 h 6858000"/>
              <a:gd name="connsiteX770" fmla="*/ 1198103 w 12191998"/>
              <a:gd name="connsiteY770" fmla="*/ 510830 h 6858000"/>
              <a:gd name="connsiteX771" fmla="*/ 1249629 w 12191998"/>
              <a:gd name="connsiteY771" fmla="*/ 510830 h 6858000"/>
              <a:gd name="connsiteX772" fmla="*/ 1249629 w 12191998"/>
              <a:gd name="connsiteY772" fmla="*/ 565497 h 6858000"/>
              <a:gd name="connsiteX773" fmla="*/ 1199994 w 12191998"/>
              <a:gd name="connsiteY773" fmla="*/ 572627 h 6858000"/>
              <a:gd name="connsiteX774" fmla="*/ 1151777 w 12191998"/>
              <a:gd name="connsiteY774" fmla="*/ 562169 h 6858000"/>
              <a:gd name="connsiteX775" fmla="*/ 1120578 w 12191998"/>
              <a:gd name="connsiteY775" fmla="*/ 531271 h 6858000"/>
              <a:gd name="connsiteX776" fmla="*/ 1109706 w 12191998"/>
              <a:gd name="connsiteY776" fmla="*/ 483259 h 6858000"/>
              <a:gd name="connsiteX777" fmla="*/ 1121051 w 12191998"/>
              <a:gd name="connsiteY777" fmla="*/ 436673 h 6858000"/>
              <a:gd name="connsiteX778" fmla="*/ 1152250 w 12191998"/>
              <a:gd name="connsiteY778" fmla="*/ 405299 h 6858000"/>
              <a:gd name="connsiteX779" fmla="*/ 1199521 w 12191998"/>
              <a:gd name="connsiteY779" fmla="*/ 394366 h 6858000"/>
              <a:gd name="connsiteX780" fmla="*/ 1280828 w 12191998"/>
              <a:gd name="connsiteY780" fmla="*/ 412430 h 6858000"/>
              <a:gd name="connsiteX781" fmla="*/ 1280828 w 12191998"/>
              <a:gd name="connsiteY781" fmla="*/ 369647 h 6858000"/>
              <a:gd name="connsiteX782" fmla="*/ 1243956 w 12191998"/>
              <a:gd name="connsiteY782" fmla="*/ 357288 h 6858000"/>
              <a:gd name="connsiteX783" fmla="*/ 1201412 w 12191998"/>
              <a:gd name="connsiteY783" fmla="*/ 352534 h 6858000"/>
              <a:gd name="connsiteX784" fmla="*/ 597009 w 12191998"/>
              <a:gd name="connsiteY784" fmla="*/ 345657 h 6858000"/>
              <a:gd name="connsiteX785" fmla="*/ 497757 w 12191998"/>
              <a:gd name="connsiteY785" fmla="*/ 403249 h 6858000"/>
              <a:gd name="connsiteX786" fmla="*/ 484996 w 12191998"/>
              <a:gd name="connsiteY786" fmla="*/ 425143 h 6858000"/>
              <a:gd name="connsiteX787" fmla="*/ 484996 w 12191998"/>
              <a:gd name="connsiteY787" fmla="*/ 540803 h 6858000"/>
              <a:gd name="connsiteX788" fmla="*/ 497757 w 12191998"/>
              <a:gd name="connsiteY788" fmla="*/ 562697 h 6858000"/>
              <a:gd name="connsiteX789" fmla="*/ 597009 w 12191998"/>
              <a:gd name="connsiteY789" fmla="*/ 620289 h 6858000"/>
              <a:gd name="connsiteX790" fmla="*/ 622531 w 12191998"/>
              <a:gd name="connsiteY790" fmla="*/ 620289 h 6858000"/>
              <a:gd name="connsiteX791" fmla="*/ 896655 w 12191998"/>
              <a:gd name="connsiteY791" fmla="*/ 461317 h 6858000"/>
              <a:gd name="connsiteX792" fmla="*/ 744942 w 12191998"/>
              <a:gd name="connsiteY792" fmla="*/ 578404 h 6858000"/>
              <a:gd name="connsiteX793" fmla="*/ 817254 w 12191998"/>
              <a:gd name="connsiteY793" fmla="*/ 620289 h 6858000"/>
              <a:gd name="connsiteX794" fmla="*/ 842775 w 12191998"/>
              <a:gd name="connsiteY794" fmla="*/ 620289 h 6858000"/>
              <a:gd name="connsiteX795" fmla="*/ 942027 w 12191998"/>
              <a:gd name="connsiteY795" fmla="*/ 562697 h 6858000"/>
              <a:gd name="connsiteX796" fmla="*/ 954788 w 12191998"/>
              <a:gd name="connsiteY796" fmla="*/ 540803 h 6858000"/>
              <a:gd name="connsiteX797" fmla="*/ 954788 w 12191998"/>
              <a:gd name="connsiteY797" fmla="*/ 425619 h 6858000"/>
              <a:gd name="connsiteX798" fmla="*/ 942027 w 12191998"/>
              <a:gd name="connsiteY798" fmla="*/ 403249 h 6858000"/>
              <a:gd name="connsiteX799" fmla="*/ 842775 w 12191998"/>
              <a:gd name="connsiteY799" fmla="*/ 345657 h 6858000"/>
              <a:gd name="connsiteX800" fmla="*/ 817254 w 12191998"/>
              <a:gd name="connsiteY800" fmla="*/ 345657 h 6858000"/>
              <a:gd name="connsiteX801" fmla="*/ 543129 w 12191998"/>
              <a:gd name="connsiteY801" fmla="*/ 504630 h 6858000"/>
              <a:gd name="connsiteX802" fmla="*/ 694843 w 12191998"/>
              <a:gd name="connsiteY802" fmla="*/ 387542 h 6858000"/>
              <a:gd name="connsiteX803" fmla="*/ 622531 w 12191998"/>
              <a:gd name="connsiteY803" fmla="*/ 345657 h 6858000"/>
              <a:gd name="connsiteX804" fmla="*/ 597009 w 12191998"/>
              <a:gd name="connsiteY804" fmla="*/ 345657 h 6858000"/>
              <a:gd name="connsiteX805" fmla="*/ 0 w 12191998"/>
              <a:gd name="connsiteY805" fmla="*/ 0 h 6858000"/>
              <a:gd name="connsiteX806" fmla="*/ 12191998 w 12191998"/>
              <a:gd name="connsiteY806" fmla="*/ 0 h 6858000"/>
              <a:gd name="connsiteX807" fmla="*/ 12191998 w 12191998"/>
              <a:gd name="connsiteY807" fmla="*/ 6858000 h 6858000"/>
              <a:gd name="connsiteX808" fmla="*/ 0 w 12191998"/>
              <a:gd name="connsiteY80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Lst>
            <a:rect l="l" t="t" r="r" b="b"/>
            <a:pathLst>
              <a:path w="12191998" h="6858000">
                <a:moveTo>
                  <a:pt x="2154181" y="6348734"/>
                </a:moveTo>
                <a:lnTo>
                  <a:pt x="2154181" y="6352725"/>
                </a:lnTo>
                <a:cubicBezTo>
                  <a:pt x="2154181" y="6357521"/>
                  <a:pt x="2153596" y="6361149"/>
                  <a:pt x="2152427" y="6363608"/>
                </a:cubicBezTo>
                <a:cubicBezTo>
                  <a:pt x="2150895" y="6366792"/>
                  <a:pt x="2148497" y="6369301"/>
                  <a:pt x="2145232" y="6371135"/>
                </a:cubicBezTo>
                <a:cubicBezTo>
                  <a:pt x="2141967" y="6372969"/>
                  <a:pt x="2138239" y="6373886"/>
                  <a:pt x="2134047" y="6373886"/>
                </a:cubicBezTo>
                <a:cubicBezTo>
                  <a:pt x="2129815" y="6373886"/>
                  <a:pt x="2126600" y="6372919"/>
                  <a:pt x="2124403" y="6370984"/>
                </a:cubicBezTo>
                <a:cubicBezTo>
                  <a:pt x="2122206" y="6369049"/>
                  <a:pt x="2121108" y="6366631"/>
                  <a:pt x="2121108" y="6363729"/>
                </a:cubicBezTo>
                <a:cubicBezTo>
                  <a:pt x="2121108" y="6361834"/>
                  <a:pt x="2121612" y="6360111"/>
                  <a:pt x="2122620" y="6358559"/>
                </a:cubicBezTo>
                <a:cubicBezTo>
                  <a:pt x="2123627" y="6357007"/>
                  <a:pt x="2125058" y="6355828"/>
                  <a:pt x="2126912" y="6355022"/>
                </a:cubicBezTo>
                <a:cubicBezTo>
                  <a:pt x="2128767" y="6354216"/>
                  <a:pt x="2131931" y="6353491"/>
                  <a:pt x="2136405" y="6352846"/>
                </a:cubicBezTo>
                <a:cubicBezTo>
                  <a:pt x="2144305" y="6351717"/>
                  <a:pt x="2150230" y="6350347"/>
                  <a:pt x="2154181" y="6348734"/>
                </a:cubicBezTo>
                <a:close/>
                <a:moveTo>
                  <a:pt x="1430280" y="6348734"/>
                </a:moveTo>
                <a:lnTo>
                  <a:pt x="1430280" y="6352725"/>
                </a:lnTo>
                <a:cubicBezTo>
                  <a:pt x="1430280" y="6357521"/>
                  <a:pt x="1429696" y="6361149"/>
                  <a:pt x="1428527" y="6363608"/>
                </a:cubicBezTo>
                <a:cubicBezTo>
                  <a:pt x="1426996" y="6366792"/>
                  <a:pt x="1424597" y="6369301"/>
                  <a:pt x="1421332" y="6371135"/>
                </a:cubicBezTo>
                <a:cubicBezTo>
                  <a:pt x="1418067" y="6372969"/>
                  <a:pt x="1414339" y="6373886"/>
                  <a:pt x="1410147" y="6373886"/>
                </a:cubicBezTo>
                <a:cubicBezTo>
                  <a:pt x="1405915" y="6373886"/>
                  <a:pt x="1402700" y="6372919"/>
                  <a:pt x="1400503" y="6370984"/>
                </a:cubicBezTo>
                <a:cubicBezTo>
                  <a:pt x="1398307" y="6369049"/>
                  <a:pt x="1397208" y="6366631"/>
                  <a:pt x="1397208" y="6363729"/>
                </a:cubicBezTo>
                <a:cubicBezTo>
                  <a:pt x="1397208" y="6361834"/>
                  <a:pt x="1397712" y="6360111"/>
                  <a:pt x="1398720" y="6358559"/>
                </a:cubicBezTo>
                <a:cubicBezTo>
                  <a:pt x="1399727" y="6357007"/>
                  <a:pt x="1401158" y="6355828"/>
                  <a:pt x="1403012" y="6355022"/>
                </a:cubicBezTo>
                <a:cubicBezTo>
                  <a:pt x="1404866" y="6354216"/>
                  <a:pt x="1408031" y="6353491"/>
                  <a:pt x="1412505" y="6352846"/>
                </a:cubicBezTo>
                <a:cubicBezTo>
                  <a:pt x="1420405" y="6351717"/>
                  <a:pt x="1426330" y="6350347"/>
                  <a:pt x="1430280" y="6348734"/>
                </a:cubicBezTo>
                <a:close/>
                <a:moveTo>
                  <a:pt x="1167697" y="6324308"/>
                </a:moveTo>
                <a:cubicBezTo>
                  <a:pt x="1173057" y="6324308"/>
                  <a:pt x="1177542" y="6326354"/>
                  <a:pt x="1181149" y="6330445"/>
                </a:cubicBezTo>
                <a:cubicBezTo>
                  <a:pt x="1184757" y="6334536"/>
                  <a:pt x="1186560" y="6340552"/>
                  <a:pt x="1186560" y="6348492"/>
                </a:cubicBezTo>
                <a:cubicBezTo>
                  <a:pt x="1186560" y="6356917"/>
                  <a:pt x="1184767" y="6363185"/>
                  <a:pt x="1181179" y="6367296"/>
                </a:cubicBezTo>
                <a:cubicBezTo>
                  <a:pt x="1177592" y="6371407"/>
                  <a:pt x="1173098" y="6373463"/>
                  <a:pt x="1167697" y="6373463"/>
                </a:cubicBezTo>
                <a:cubicBezTo>
                  <a:pt x="1162255" y="6373463"/>
                  <a:pt x="1157740" y="6371417"/>
                  <a:pt x="1154153" y="6367326"/>
                </a:cubicBezTo>
                <a:cubicBezTo>
                  <a:pt x="1150566" y="6363235"/>
                  <a:pt x="1148772" y="6357078"/>
                  <a:pt x="1148772" y="6348855"/>
                </a:cubicBezTo>
                <a:cubicBezTo>
                  <a:pt x="1148772" y="6340632"/>
                  <a:pt x="1150566" y="6334486"/>
                  <a:pt x="1154153" y="6330414"/>
                </a:cubicBezTo>
                <a:cubicBezTo>
                  <a:pt x="1157740" y="6326343"/>
                  <a:pt x="1162255" y="6324308"/>
                  <a:pt x="1167697" y="6324308"/>
                </a:cubicBezTo>
                <a:close/>
                <a:moveTo>
                  <a:pt x="1939645" y="6324247"/>
                </a:moveTo>
                <a:cubicBezTo>
                  <a:pt x="1945167" y="6324247"/>
                  <a:pt x="1949661" y="6326343"/>
                  <a:pt x="1953128" y="6330535"/>
                </a:cubicBezTo>
                <a:cubicBezTo>
                  <a:pt x="1955385" y="6333236"/>
                  <a:pt x="1956755" y="6337287"/>
                  <a:pt x="1957239" y="6342688"/>
                </a:cubicBezTo>
                <a:lnTo>
                  <a:pt x="1921386" y="6342688"/>
                </a:lnTo>
                <a:cubicBezTo>
                  <a:pt x="1921748" y="6337085"/>
                  <a:pt x="1923633" y="6332611"/>
                  <a:pt x="1927039" y="6329266"/>
                </a:cubicBezTo>
                <a:cubicBezTo>
                  <a:pt x="1930444" y="6325920"/>
                  <a:pt x="1934647" y="6324247"/>
                  <a:pt x="1939645" y="6324247"/>
                </a:cubicBezTo>
                <a:close/>
                <a:moveTo>
                  <a:pt x="929995" y="6324247"/>
                </a:moveTo>
                <a:cubicBezTo>
                  <a:pt x="935517" y="6324247"/>
                  <a:pt x="940011" y="6326343"/>
                  <a:pt x="943478" y="6330535"/>
                </a:cubicBezTo>
                <a:cubicBezTo>
                  <a:pt x="945735" y="6333236"/>
                  <a:pt x="947105" y="6337287"/>
                  <a:pt x="947589" y="6342688"/>
                </a:cubicBezTo>
                <a:lnTo>
                  <a:pt x="911735" y="6342688"/>
                </a:lnTo>
                <a:cubicBezTo>
                  <a:pt x="912098" y="6337085"/>
                  <a:pt x="913982" y="6332611"/>
                  <a:pt x="917388" y="6329266"/>
                </a:cubicBezTo>
                <a:cubicBezTo>
                  <a:pt x="920794" y="6325920"/>
                  <a:pt x="924996" y="6324247"/>
                  <a:pt x="929995" y="6324247"/>
                </a:cubicBezTo>
                <a:close/>
                <a:moveTo>
                  <a:pt x="635687" y="6324247"/>
                </a:moveTo>
                <a:cubicBezTo>
                  <a:pt x="640403" y="6324247"/>
                  <a:pt x="644424" y="6326243"/>
                  <a:pt x="647749" y="6330233"/>
                </a:cubicBezTo>
                <a:cubicBezTo>
                  <a:pt x="651074" y="6334224"/>
                  <a:pt x="652737" y="6340411"/>
                  <a:pt x="652737" y="6348795"/>
                </a:cubicBezTo>
                <a:cubicBezTo>
                  <a:pt x="652737" y="6356977"/>
                  <a:pt x="651004" y="6363134"/>
                  <a:pt x="647537" y="6367266"/>
                </a:cubicBezTo>
                <a:cubicBezTo>
                  <a:pt x="644071" y="6371397"/>
                  <a:pt x="639960" y="6373463"/>
                  <a:pt x="635203" y="6373463"/>
                </a:cubicBezTo>
                <a:cubicBezTo>
                  <a:pt x="629359" y="6373463"/>
                  <a:pt x="624723" y="6370662"/>
                  <a:pt x="621297" y="6365059"/>
                </a:cubicBezTo>
                <a:cubicBezTo>
                  <a:pt x="619201" y="6361633"/>
                  <a:pt x="618153" y="6356070"/>
                  <a:pt x="618153" y="6348372"/>
                </a:cubicBezTo>
                <a:cubicBezTo>
                  <a:pt x="618153" y="6340552"/>
                  <a:pt x="619886" y="6334576"/>
                  <a:pt x="623353" y="6330445"/>
                </a:cubicBezTo>
                <a:cubicBezTo>
                  <a:pt x="626819" y="6326313"/>
                  <a:pt x="630931" y="6324247"/>
                  <a:pt x="635687" y="6324247"/>
                </a:cubicBezTo>
                <a:close/>
                <a:moveTo>
                  <a:pt x="808323" y="6316750"/>
                </a:moveTo>
                <a:lnTo>
                  <a:pt x="808323" y="6380960"/>
                </a:lnTo>
                <a:lnTo>
                  <a:pt x="819206" y="6380960"/>
                </a:lnTo>
                <a:lnTo>
                  <a:pt x="819206" y="6316750"/>
                </a:lnTo>
                <a:close/>
                <a:moveTo>
                  <a:pt x="674671" y="6316750"/>
                </a:moveTo>
                <a:lnTo>
                  <a:pt x="674671" y="6356534"/>
                </a:lnTo>
                <a:cubicBezTo>
                  <a:pt x="674671" y="6361169"/>
                  <a:pt x="674892" y="6364555"/>
                  <a:pt x="675336" y="6366691"/>
                </a:cubicBezTo>
                <a:cubicBezTo>
                  <a:pt x="675981" y="6369876"/>
                  <a:pt x="677099" y="6372566"/>
                  <a:pt x="678691" y="6374763"/>
                </a:cubicBezTo>
                <a:cubicBezTo>
                  <a:pt x="680283" y="6376960"/>
                  <a:pt x="682722" y="6378784"/>
                  <a:pt x="686007" y="6380235"/>
                </a:cubicBezTo>
                <a:cubicBezTo>
                  <a:pt x="689292" y="6381686"/>
                  <a:pt x="692829" y="6382411"/>
                  <a:pt x="696618" y="6382411"/>
                </a:cubicBezTo>
                <a:cubicBezTo>
                  <a:pt x="705204" y="6382411"/>
                  <a:pt x="711996" y="6378784"/>
                  <a:pt x="716994" y="6371528"/>
                </a:cubicBezTo>
                <a:lnTo>
                  <a:pt x="716994" y="6380960"/>
                </a:lnTo>
                <a:lnTo>
                  <a:pt x="726728" y="6380960"/>
                </a:lnTo>
                <a:lnTo>
                  <a:pt x="726728" y="6316750"/>
                </a:lnTo>
                <a:lnTo>
                  <a:pt x="715845" y="6316750"/>
                </a:lnTo>
                <a:lnTo>
                  <a:pt x="715845" y="6351153"/>
                </a:lnTo>
                <a:cubicBezTo>
                  <a:pt x="715845" y="6356635"/>
                  <a:pt x="715250" y="6360817"/>
                  <a:pt x="714061" y="6363699"/>
                </a:cubicBezTo>
                <a:cubicBezTo>
                  <a:pt x="712872" y="6366581"/>
                  <a:pt x="710847" y="6368858"/>
                  <a:pt x="707985" y="6370531"/>
                </a:cubicBezTo>
                <a:cubicBezTo>
                  <a:pt x="705123" y="6372203"/>
                  <a:pt x="702060" y="6373040"/>
                  <a:pt x="698795" y="6373040"/>
                </a:cubicBezTo>
                <a:cubicBezTo>
                  <a:pt x="695530" y="6373040"/>
                  <a:pt x="692789" y="6372224"/>
                  <a:pt x="690572" y="6370591"/>
                </a:cubicBezTo>
                <a:cubicBezTo>
                  <a:pt x="688355" y="6368959"/>
                  <a:pt x="686904" y="6366712"/>
                  <a:pt x="686219" y="6363850"/>
                </a:cubicBezTo>
                <a:cubicBezTo>
                  <a:pt x="685775" y="6361875"/>
                  <a:pt x="685554" y="6358045"/>
                  <a:pt x="685554" y="6352362"/>
                </a:cubicBezTo>
                <a:lnTo>
                  <a:pt x="685554" y="6316750"/>
                </a:lnTo>
                <a:close/>
                <a:moveTo>
                  <a:pt x="2210093" y="6315299"/>
                </a:moveTo>
                <a:cubicBezTo>
                  <a:pt x="2201185" y="6315299"/>
                  <a:pt x="2194373" y="6318826"/>
                  <a:pt x="2189658" y="6325880"/>
                </a:cubicBezTo>
                <a:lnTo>
                  <a:pt x="2189658" y="6316750"/>
                </a:lnTo>
                <a:lnTo>
                  <a:pt x="2179863" y="6316750"/>
                </a:lnTo>
                <a:lnTo>
                  <a:pt x="2179863" y="6380960"/>
                </a:lnTo>
                <a:lnTo>
                  <a:pt x="2190746" y="6380960"/>
                </a:lnTo>
                <a:lnTo>
                  <a:pt x="2190746" y="6345893"/>
                </a:lnTo>
                <a:cubicBezTo>
                  <a:pt x="2190746" y="6337670"/>
                  <a:pt x="2192429" y="6332087"/>
                  <a:pt x="2195794" y="6329145"/>
                </a:cubicBezTo>
                <a:cubicBezTo>
                  <a:pt x="2199160" y="6326202"/>
                  <a:pt x="2203160" y="6324731"/>
                  <a:pt x="2207796" y="6324731"/>
                </a:cubicBezTo>
                <a:cubicBezTo>
                  <a:pt x="2210698" y="6324731"/>
                  <a:pt x="2213227" y="6325386"/>
                  <a:pt x="2215384" y="6326696"/>
                </a:cubicBezTo>
                <a:cubicBezTo>
                  <a:pt x="2217540" y="6328006"/>
                  <a:pt x="2219042" y="6329760"/>
                  <a:pt x="2219888" y="6331956"/>
                </a:cubicBezTo>
                <a:cubicBezTo>
                  <a:pt x="2220734" y="6334153"/>
                  <a:pt x="2221158" y="6337468"/>
                  <a:pt x="2221158" y="6341902"/>
                </a:cubicBezTo>
                <a:lnTo>
                  <a:pt x="2221158" y="6380960"/>
                </a:lnTo>
                <a:lnTo>
                  <a:pt x="2232041" y="6380960"/>
                </a:lnTo>
                <a:lnTo>
                  <a:pt x="2232041" y="6341479"/>
                </a:lnTo>
                <a:cubicBezTo>
                  <a:pt x="2232041" y="6336440"/>
                  <a:pt x="2231839" y="6332914"/>
                  <a:pt x="2231436" y="6330898"/>
                </a:cubicBezTo>
                <a:cubicBezTo>
                  <a:pt x="2230791" y="6327795"/>
                  <a:pt x="2229663" y="6325114"/>
                  <a:pt x="2228051" y="6322857"/>
                </a:cubicBezTo>
                <a:cubicBezTo>
                  <a:pt x="2226438" y="6320600"/>
                  <a:pt x="2224010" y="6318776"/>
                  <a:pt x="2220765" y="6317385"/>
                </a:cubicBezTo>
                <a:cubicBezTo>
                  <a:pt x="2217520" y="6315994"/>
                  <a:pt x="2213963" y="6315299"/>
                  <a:pt x="2210093" y="6315299"/>
                </a:cubicBezTo>
                <a:close/>
                <a:moveTo>
                  <a:pt x="2140335" y="6315299"/>
                </a:moveTo>
                <a:cubicBezTo>
                  <a:pt x="2134813" y="6315299"/>
                  <a:pt x="2129956" y="6316055"/>
                  <a:pt x="2125764" y="6317566"/>
                </a:cubicBezTo>
                <a:cubicBezTo>
                  <a:pt x="2121572" y="6319078"/>
                  <a:pt x="2118367" y="6321234"/>
                  <a:pt x="2116150" y="6324036"/>
                </a:cubicBezTo>
                <a:cubicBezTo>
                  <a:pt x="2113933" y="6326837"/>
                  <a:pt x="2112341" y="6330515"/>
                  <a:pt x="2111374" y="6335070"/>
                </a:cubicBezTo>
                <a:lnTo>
                  <a:pt x="2122015" y="6336521"/>
                </a:lnTo>
                <a:cubicBezTo>
                  <a:pt x="2123184" y="6331966"/>
                  <a:pt x="2124988" y="6328792"/>
                  <a:pt x="2127426" y="6326998"/>
                </a:cubicBezTo>
                <a:cubicBezTo>
                  <a:pt x="2129865" y="6325205"/>
                  <a:pt x="2133644" y="6324308"/>
                  <a:pt x="2138763" y="6324308"/>
                </a:cubicBezTo>
                <a:cubicBezTo>
                  <a:pt x="2144245" y="6324308"/>
                  <a:pt x="2148376" y="6325537"/>
                  <a:pt x="2151158" y="6327996"/>
                </a:cubicBezTo>
                <a:cubicBezTo>
                  <a:pt x="2153213" y="6329810"/>
                  <a:pt x="2154241" y="6332934"/>
                  <a:pt x="2154241" y="6337368"/>
                </a:cubicBezTo>
                <a:cubicBezTo>
                  <a:pt x="2154241" y="6337771"/>
                  <a:pt x="2154221" y="6338718"/>
                  <a:pt x="2154181" y="6340209"/>
                </a:cubicBezTo>
                <a:cubicBezTo>
                  <a:pt x="2150029" y="6341660"/>
                  <a:pt x="2143559" y="6342910"/>
                  <a:pt x="2134772" y="6343958"/>
                </a:cubicBezTo>
                <a:cubicBezTo>
                  <a:pt x="2130459" y="6344482"/>
                  <a:pt x="2127235" y="6345026"/>
                  <a:pt x="2125099" y="6345590"/>
                </a:cubicBezTo>
                <a:cubicBezTo>
                  <a:pt x="2122196" y="6346396"/>
                  <a:pt x="2119586" y="6347586"/>
                  <a:pt x="2117269" y="6349158"/>
                </a:cubicBezTo>
                <a:cubicBezTo>
                  <a:pt x="2114951" y="6350730"/>
                  <a:pt x="2113077" y="6352815"/>
                  <a:pt x="2111646" y="6355415"/>
                </a:cubicBezTo>
                <a:cubicBezTo>
                  <a:pt x="2110215" y="6358015"/>
                  <a:pt x="2109499" y="6360887"/>
                  <a:pt x="2109499" y="6364031"/>
                </a:cubicBezTo>
                <a:cubicBezTo>
                  <a:pt x="2109499" y="6369392"/>
                  <a:pt x="2111394" y="6373796"/>
                  <a:pt x="2115183" y="6377242"/>
                </a:cubicBezTo>
                <a:cubicBezTo>
                  <a:pt x="2118972" y="6380688"/>
                  <a:pt x="2124393" y="6382411"/>
                  <a:pt x="2131447" y="6382411"/>
                </a:cubicBezTo>
                <a:cubicBezTo>
                  <a:pt x="2135720" y="6382411"/>
                  <a:pt x="2139720" y="6381706"/>
                  <a:pt x="2143449" y="6380295"/>
                </a:cubicBezTo>
                <a:cubicBezTo>
                  <a:pt x="2147177" y="6378884"/>
                  <a:pt x="2151057" y="6376466"/>
                  <a:pt x="2155088" y="6373040"/>
                </a:cubicBezTo>
                <a:cubicBezTo>
                  <a:pt x="2155410" y="6376063"/>
                  <a:pt x="2156135" y="6378703"/>
                  <a:pt x="2157264" y="6380960"/>
                </a:cubicBezTo>
                <a:lnTo>
                  <a:pt x="2168631" y="6380960"/>
                </a:lnTo>
                <a:cubicBezTo>
                  <a:pt x="2167260" y="6378501"/>
                  <a:pt x="2166343" y="6375932"/>
                  <a:pt x="2165880" y="6373251"/>
                </a:cubicBezTo>
                <a:cubicBezTo>
                  <a:pt x="2165416" y="6370571"/>
                  <a:pt x="2165184" y="6364172"/>
                  <a:pt x="2165184" y="6354055"/>
                </a:cubicBezTo>
                <a:lnTo>
                  <a:pt x="2165184" y="6339544"/>
                </a:lnTo>
                <a:cubicBezTo>
                  <a:pt x="2165184" y="6334707"/>
                  <a:pt x="2165003" y="6331362"/>
                  <a:pt x="2164640" y="6329508"/>
                </a:cubicBezTo>
                <a:cubicBezTo>
                  <a:pt x="2163995" y="6326525"/>
                  <a:pt x="2162867" y="6324056"/>
                  <a:pt x="2161254" y="6322101"/>
                </a:cubicBezTo>
                <a:cubicBezTo>
                  <a:pt x="2159642" y="6320146"/>
                  <a:pt x="2157123" y="6318524"/>
                  <a:pt x="2153697" y="6317234"/>
                </a:cubicBezTo>
                <a:cubicBezTo>
                  <a:pt x="2150271" y="6315944"/>
                  <a:pt x="2145817" y="6315299"/>
                  <a:pt x="2140335" y="6315299"/>
                </a:cubicBezTo>
                <a:close/>
                <a:moveTo>
                  <a:pt x="2076743" y="6315299"/>
                </a:moveTo>
                <a:cubicBezTo>
                  <a:pt x="2067835" y="6315299"/>
                  <a:pt x="2061023" y="6318826"/>
                  <a:pt x="2056308" y="6325880"/>
                </a:cubicBezTo>
                <a:lnTo>
                  <a:pt x="2056308" y="6316750"/>
                </a:lnTo>
                <a:lnTo>
                  <a:pt x="2046513" y="6316750"/>
                </a:lnTo>
                <a:lnTo>
                  <a:pt x="2046513" y="6380960"/>
                </a:lnTo>
                <a:lnTo>
                  <a:pt x="2057396" y="6380960"/>
                </a:lnTo>
                <a:lnTo>
                  <a:pt x="2057396" y="6345893"/>
                </a:lnTo>
                <a:cubicBezTo>
                  <a:pt x="2057396" y="6337670"/>
                  <a:pt x="2059078" y="6332087"/>
                  <a:pt x="2062444" y="6329145"/>
                </a:cubicBezTo>
                <a:cubicBezTo>
                  <a:pt x="2065810" y="6326202"/>
                  <a:pt x="2069810" y="6324731"/>
                  <a:pt x="2074446" y="6324731"/>
                </a:cubicBezTo>
                <a:cubicBezTo>
                  <a:pt x="2077348" y="6324731"/>
                  <a:pt x="2079877" y="6325386"/>
                  <a:pt x="2082034" y="6326696"/>
                </a:cubicBezTo>
                <a:cubicBezTo>
                  <a:pt x="2084190" y="6328006"/>
                  <a:pt x="2085691" y="6329760"/>
                  <a:pt x="2086538" y="6331956"/>
                </a:cubicBezTo>
                <a:cubicBezTo>
                  <a:pt x="2087384" y="6334153"/>
                  <a:pt x="2087808" y="6337468"/>
                  <a:pt x="2087808" y="6341902"/>
                </a:cubicBezTo>
                <a:lnTo>
                  <a:pt x="2087808" y="6380960"/>
                </a:lnTo>
                <a:lnTo>
                  <a:pt x="2098691" y="6380960"/>
                </a:lnTo>
                <a:lnTo>
                  <a:pt x="2098691" y="6341479"/>
                </a:lnTo>
                <a:cubicBezTo>
                  <a:pt x="2098691" y="6336440"/>
                  <a:pt x="2098489" y="6332914"/>
                  <a:pt x="2098086" y="6330898"/>
                </a:cubicBezTo>
                <a:cubicBezTo>
                  <a:pt x="2097441" y="6327795"/>
                  <a:pt x="2096313" y="6325114"/>
                  <a:pt x="2094701" y="6322857"/>
                </a:cubicBezTo>
                <a:cubicBezTo>
                  <a:pt x="2093088" y="6320600"/>
                  <a:pt x="2090660" y="6318776"/>
                  <a:pt x="2087415" y="6317385"/>
                </a:cubicBezTo>
                <a:cubicBezTo>
                  <a:pt x="2084170" y="6315994"/>
                  <a:pt x="2080613" y="6315299"/>
                  <a:pt x="2076743" y="6315299"/>
                </a:cubicBezTo>
                <a:close/>
                <a:moveTo>
                  <a:pt x="2010068" y="6315299"/>
                </a:moveTo>
                <a:cubicBezTo>
                  <a:pt x="2001160" y="6315299"/>
                  <a:pt x="1994348" y="6318826"/>
                  <a:pt x="1989632" y="6325880"/>
                </a:cubicBezTo>
                <a:lnTo>
                  <a:pt x="1989632" y="6316750"/>
                </a:lnTo>
                <a:lnTo>
                  <a:pt x="1979838" y="6316750"/>
                </a:lnTo>
                <a:lnTo>
                  <a:pt x="1979838" y="6380960"/>
                </a:lnTo>
                <a:lnTo>
                  <a:pt x="1990721" y="6380960"/>
                </a:lnTo>
                <a:lnTo>
                  <a:pt x="1990721" y="6345893"/>
                </a:lnTo>
                <a:cubicBezTo>
                  <a:pt x="1990721" y="6337670"/>
                  <a:pt x="1992404" y="6332087"/>
                  <a:pt x="1995769" y="6329145"/>
                </a:cubicBezTo>
                <a:cubicBezTo>
                  <a:pt x="1999135" y="6326202"/>
                  <a:pt x="2003135" y="6324731"/>
                  <a:pt x="2007771" y="6324731"/>
                </a:cubicBezTo>
                <a:cubicBezTo>
                  <a:pt x="2010673" y="6324731"/>
                  <a:pt x="2013202" y="6325386"/>
                  <a:pt x="2015359" y="6326696"/>
                </a:cubicBezTo>
                <a:cubicBezTo>
                  <a:pt x="2017515" y="6328006"/>
                  <a:pt x="2019017" y="6329760"/>
                  <a:pt x="2019863" y="6331956"/>
                </a:cubicBezTo>
                <a:cubicBezTo>
                  <a:pt x="2020709" y="6334153"/>
                  <a:pt x="2021133" y="6337468"/>
                  <a:pt x="2021133" y="6341902"/>
                </a:cubicBezTo>
                <a:lnTo>
                  <a:pt x="2021133" y="6380960"/>
                </a:lnTo>
                <a:lnTo>
                  <a:pt x="2032016" y="6380960"/>
                </a:lnTo>
                <a:lnTo>
                  <a:pt x="2032016" y="6341479"/>
                </a:lnTo>
                <a:cubicBezTo>
                  <a:pt x="2032016" y="6336440"/>
                  <a:pt x="2031814" y="6332914"/>
                  <a:pt x="2031411" y="6330898"/>
                </a:cubicBezTo>
                <a:cubicBezTo>
                  <a:pt x="2030766" y="6327795"/>
                  <a:pt x="2029638" y="6325114"/>
                  <a:pt x="2028025" y="6322857"/>
                </a:cubicBezTo>
                <a:cubicBezTo>
                  <a:pt x="2026413" y="6320600"/>
                  <a:pt x="2023984" y="6318776"/>
                  <a:pt x="2020740" y="6317385"/>
                </a:cubicBezTo>
                <a:cubicBezTo>
                  <a:pt x="2017495" y="6315994"/>
                  <a:pt x="2013938" y="6315299"/>
                  <a:pt x="2010068" y="6315299"/>
                </a:cubicBezTo>
                <a:close/>
                <a:moveTo>
                  <a:pt x="1939524" y="6315299"/>
                </a:moveTo>
                <a:cubicBezTo>
                  <a:pt x="1930656" y="6315299"/>
                  <a:pt x="1923441" y="6318282"/>
                  <a:pt x="1917879" y="6324247"/>
                </a:cubicBezTo>
                <a:cubicBezTo>
                  <a:pt x="1912316" y="6330213"/>
                  <a:pt x="1909535" y="6338597"/>
                  <a:pt x="1909535" y="6349399"/>
                </a:cubicBezTo>
                <a:cubicBezTo>
                  <a:pt x="1909535" y="6359839"/>
                  <a:pt x="1912286" y="6367951"/>
                  <a:pt x="1917788" y="6373735"/>
                </a:cubicBezTo>
                <a:cubicBezTo>
                  <a:pt x="1923290" y="6379519"/>
                  <a:pt x="1930737" y="6382411"/>
                  <a:pt x="1940128" y="6382411"/>
                </a:cubicBezTo>
                <a:cubicBezTo>
                  <a:pt x="1947585" y="6382411"/>
                  <a:pt x="1953712" y="6380597"/>
                  <a:pt x="1958509" y="6376970"/>
                </a:cubicBezTo>
                <a:cubicBezTo>
                  <a:pt x="1963305" y="6373342"/>
                  <a:pt x="1966590" y="6368243"/>
                  <a:pt x="1968364" y="6361673"/>
                </a:cubicBezTo>
                <a:lnTo>
                  <a:pt x="1957118" y="6360282"/>
                </a:lnTo>
                <a:cubicBezTo>
                  <a:pt x="1955465" y="6364878"/>
                  <a:pt x="1953228" y="6368223"/>
                  <a:pt x="1950407" y="6370319"/>
                </a:cubicBezTo>
                <a:cubicBezTo>
                  <a:pt x="1947585" y="6372415"/>
                  <a:pt x="1944179" y="6373463"/>
                  <a:pt x="1940189" y="6373463"/>
                </a:cubicBezTo>
                <a:cubicBezTo>
                  <a:pt x="1934828" y="6373463"/>
                  <a:pt x="1930354" y="6371589"/>
                  <a:pt x="1926766" y="6367840"/>
                </a:cubicBezTo>
                <a:cubicBezTo>
                  <a:pt x="1923179" y="6364092"/>
                  <a:pt x="1921184" y="6358690"/>
                  <a:pt x="1920781" y="6351636"/>
                </a:cubicBezTo>
                <a:lnTo>
                  <a:pt x="1968666" y="6351636"/>
                </a:lnTo>
                <a:cubicBezTo>
                  <a:pt x="1968706" y="6350347"/>
                  <a:pt x="1968727" y="6349379"/>
                  <a:pt x="1968727" y="6348734"/>
                </a:cubicBezTo>
                <a:cubicBezTo>
                  <a:pt x="1968727" y="6338133"/>
                  <a:pt x="1966006" y="6329911"/>
                  <a:pt x="1960564" y="6324066"/>
                </a:cubicBezTo>
                <a:cubicBezTo>
                  <a:pt x="1955123" y="6318221"/>
                  <a:pt x="1948109" y="6315299"/>
                  <a:pt x="1939524" y="6315299"/>
                </a:cubicBezTo>
                <a:close/>
                <a:moveTo>
                  <a:pt x="1805751" y="6315299"/>
                </a:moveTo>
                <a:cubicBezTo>
                  <a:pt x="1800229" y="6315299"/>
                  <a:pt x="1795119" y="6316599"/>
                  <a:pt x="1790424" y="6319199"/>
                </a:cubicBezTo>
                <a:cubicBezTo>
                  <a:pt x="1785728" y="6321799"/>
                  <a:pt x="1782231" y="6325699"/>
                  <a:pt x="1779934" y="6330898"/>
                </a:cubicBezTo>
                <a:cubicBezTo>
                  <a:pt x="1777636" y="6336098"/>
                  <a:pt x="1776487" y="6342164"/>
                  <a:pt x="1776487" y="6349097"/>
                </a:cubicBezTo>
                <a:cubicBezTo>
                  <a:pt x="1776487" y="6359819"/>
                  <a:pt x="1779158" y="6368052"/>
                  <a:pt x="1784498" y="6373796"/>
                </a:cubicBezTo>
                <a:cubicBezTo>
                  <a:pt x="1789839" y="6379539"/>
                  <a:pt x="1796903" y="6382411"/>
                  <a:pt x="1805690" y="6382411"/>
                </a:cubicBezTo>
                <a:cubicBezTo>
                  <a:pt x="1812704" y="6382411"/>
                  <a:pt x="1818619" y="6380325"/>
                  <a:pt x="1823436" y="6376154"/>
                </a:cubicBezTo>
                <a:cubicBezTo>
                  <a:pt x="1828252" y="6371982"/>
                  <a:pt x="1831245" y="6366208"/>
                  <a:pt x="1832414" y="6358831"/>
                </a:cubicBezTo>
                <a:lnTo>
                  <a:pt x="1821713" y="6357441"/>
                </a:lnTo>
                <a:cubicBezTo>
                  <a:pt x="1820947" y="6362882"/>
                  <a:pt x="1819133" y="6366913"/>
                  <a:pt x="1816271" y="6369533"/>
                </a:cubicBezTo>
                <a:cubicBezTo>
                  <a:pt x="1813409" y="6372153"/>
                  <a:pt x="1809842" y="6373463"/>
                  <a:pt x="1805569" y="6373463"/>
                </a:cubicBezTo>
                <a:cubicBezTo>
                  <a:pt x="1800249" y="6373463"/>
                  <a:pt x="1795936" y="6371508"/>
                  <a:pt x="1792631" y="6367598"/>
                </a:cubicBezTo>
                <a:cubicBezTo>
                  <a:pt x="1789325" y="6363688"/>
                  <a:pt x="1787673" y="6357421"/>
                  <a:pt x="1787673" y="6348795"/>
                </a:cubicBezTo>
                <a:cubicBezTo>
                  <a:pt x="1787673" y="6340290"/>
                  <a:pt x="1789386" y="6334072"/>
                  <a:pt x="1792812" y="6330142"/>
                </a:cubicBezTo>
                <a:cubicBezTo>
                  <a:pt x="1796238" y="6326212"/>
                  <a:pt x="1800692" y="6324247"/>
                  <a:pt x="1806174" y="6324247"/>
                </a:cubicBezTo>
                <a:cubicBezTo>
                  <a:pt x="1809802" y="6324247"/>
                  <a:pt x="1812895" y="6325336"/>
                  <a:pt x="1815455" y="6327512"/>
                </a:cubicBezTo>
                <a:cubicBezTo>
                  <a:pt x="1818014" y="6329689"/>
                  <a:pt x="1819798" y="6332934"/>
                  <a:pt x="1820805" y="6337247"/>
                </a:cubicBezTo>
                <a:lnTo>
                  <a:pt x="1831386" y="6335614"/>
                </a:lnTo>
                <a:cubicBezTo>
                  <a:pt x="1830137" y="6329125"/>
                  <a:pt x="1827295" y="6324116"/>
                  <a:pt x="1822861" y="6320590"/>
                </a:cubicBezTo>
                <a:cubicBezTo>
                  <a:pt x="1818427" y="6317063"/>
                  <a:pt x="1812724" y="6315299"/>
                  <a:pt x="1805751" y="6315299"/>
                </a:cubicBezTo>
                <a:close/>
                <a:moveTo>
                  <a:pt x="1515164" y="6315299"/>
                </a:moveTo>
                <a:cubicBezTo>
                  <a:pt x="1511818" y="6315299"/>
                  <a:pt x="1508684" y="6315732"/>
                  <a:pt x="1505762" y="6316599"/>
                </a:cubicBezTo>
                <a:cubicBezTo>
                  <a:pt x="1502839" y="6317466"/>
                  <a:pt x="1500532" y="6318524"/>
                  <a:pt x="1498839" y="6319773"/>
                </a:cubicBezTo>
                <a:cubicBezTo>
                  <a:pt x="1496582" y="6321386"/>
                  <a:pt x="1494798" y="6323411"/>
                  <a:pt x="1493488" y="6325850"/>
                </a:cubicBezTo>
                <a:cubicBezTo>
                  <a:pt x="1492178" y="6328288"/>
                  <a:pt x="1491523" y="6330938"/>
                  <a:pt x="1491523" y="6333800"/>
                </a:cubicBezTo>
                <a:cubicBezTo>
                  <a:pt x="1491523" y="6336944"/>
                  <a:pt x="1492319" y="6339816"/>
                  <a:pt x="1493912" y="6342416"/>
                </a:cubicBezTo>
                <a:cubicBezTo>
                  <a:pt x="1495504" y="6345016"/>
                  <a:pt x="1497842" y="6347051"/>
                  <a:pt x="1500925" y="6348523"/>
                </a:cubicBezTo>
                <a:cubicBezTo>
                  <a:pt x="1504008" y="6349994"/>
                  <a:pt x="1509541" y="6351737"/>
                  <a:pt x="1517522" y="6353753"/>
                </a:cubicBezTo>
                <a:cubicBezTo>
                  <a:pt x="1523447" y="6355244"/>
                  <a:pt x="1527155" y="6356473"/>
                  <a:pt x="1528647" y="6357441"/>
                </a:cubicBezTo>
                <a:cubicBezTo>
                  <a:pt x="1530783" y="6358852"/>
                  <a:pt x="1531851" y="6360786"/>
                  <a:pt x="1531851" y="6363245"/>
                </a:cubicBezTo>
                <a:cubicBezTo>
                  <a:pt x="1531851" y="6365986"/>
                  <a:pt x="1530642" y="6368374"/>
                  <a:pt x="1528223" y="6370410"/>
                </a:cubicBezTo>
                <a:cubicBezTo>
                  <a:pt x="1525805" y="6372445"/>
                  <a:pt x="1522096" y="6373463"/>
                  <a:pt x="1517099" y="6373463"/>
                </a:cubicBezTo>
                <a:cubicBezTo>
                  <a:pt x="1512140" y="6373463"/>
                  <a:pt x="1508281" y="6372314"/>
                  <a:pt x="1505520" y="6370017"/>
                </a:cubicBezTo>
                <a:cubicBezTo>
                  <a:pt x="1502759" y="6367719"/>
                  <a:pt x="1501076" y="6364414"/>
                  <a:pt x="1500471" y="6360101"/>
                </a:cubicBezTo>
                <a:lnTo>
                  <a:pt x="1489709" y="6361794"/>
                </a:lnTo>
                <a:cubicBezTo>
                  <a:pt x="1490919" y="6368606"/>
                  <a:pt x="1493710" y="6373745"/>
                  <a:pt x="1498083" y="6377212"/>
                </a:cubicBezTo>
                <a:cubicBezTo>
                  <a:pt x="1502457" y="6380678"/>
                  <a:pt x="1508815" y="6382411"/>
                  <a:pt x="1517159" y="6382411"/>
                </a:cubicBezTo>
                <a:cubicBezTo>
                  <a:pt x="1522197" y="6382411"/>
                  <a:pt x="1526712" y="6381535"/>
                  <a:pt x="1530702" y="6379781"/>
                </a:cubicBezTo>
                <a:cubicBezTo>
                  <a:pt x="1534693" y="6378028"/>
                  <a:pt x="1537746" y="6375549"/>
                  <a:pt x="1539862" y="6372344"/>
                </a:cubicBezTo>
                <a:cubicBezTo>
                  <a:pt x="1541978" y="6369140"/>
                  <a:pt x="1543036" y="6365724"/>
                  <a:pt x="1543036" y="6362096"/>
                </a:cubicBezTo>
                <a:cubicBezTo>
                  <a:pt x="1543036" y="6358388"/>
                  <a:pt x="1542170" y="6355284"/>
                  <a:pt x="1540436" y="6352785"/>
                </a:cubicBezTo>
                <a:cubicBezTo>
                  <a:pt x="1538703" y="6350286"/>
                  <a:pt x="1536315" y="6348382"/>
                  <a:pt x="1533272" y="6347072"/>
                </a:cubicBezTo>
                <a:cubicBezTo>
                  <a:pt x="1530229" y="6345762"/>
                  <a:pt x="1524858" y="6344079"/>
                  <a:pt x="1517159" y="6342023"/>
                </a:cubicBezTo>
                <a:cubicBezTo>
                  <a:pt x="1511838" y="6340572"/>
                  <a:pt x="1508634" y="6339645"/>
                  <a:pt x="1507546" y="6339242"/>
                </a:cubicBezTo>
                <a:cubicBezTo>
                  <a:pt x="1505651" y="6338476"/>
                  <a:pt x="1504260" y="6337509"/>
                  <a:pt x="1503374" y="6336340"/>
                </a:cubicBezTo>
                <a:cubicBezTo>
                  <a:pt x="1502487" y="6335211"/>
                  <a:pt x="1502043" y="6333941"/>
                  <a:pt x="1502043" y="6332531"/>
                </a:cubicBezTo>
                <a:cubicBezTo>
                  <a:pt x="1502043" y="6330314"/>
                  <a:pt x="1503112" y="6328379"/>
                  <a:pt x="1505248" y="6326726"/>
                </a:cubicBezTo>
                <a:cubicBezTo>
                  <a:pt x="1507384" y="6325074"/>
                  <a:pt x="1510952" y="6324247"/>
                  <a:pt x="1515950" y="6324247"/>
                </a:cubicBezTo>
                <a:cubicBezTo>
                  <a:pt x="1520182" y="6324247"/>
                  <a:pt x="1523457" y="6325175"/>
                  <a:pt x="1525775" y="6327029"/>
                </a:cubicBezTo>
                <a:cubicBezTo>
                  <a:pt x="1528092" y="6328883"/>
                  <a:pt x="1529493" y="6331462"/>
                  <a:pt x="1529977" y="6334768"/>
                </a:cubicBezTo>
                <a:lnTo>
                  <a:pt x="1540618" y="6333317"/>
                </a:lnTo>
                <a:cubicBezTo>
                  <a:pt x="1539933" y="6329165"/>
                  <a:pt x="1538683" y="6325850"/>
                  <a:pt x="1536869" y="6323371"/>
                </a:cubicBezTo>
                <a:cubicBezTo>
                  <a:pt x="1535055" y="6320892"/>
                  <a:pt x="1532244" y="6318927"/>
                  <a:pt x="1528435" y="6317476"/>
                </a:cubicBezTo>
                <a:cubicBezTo>
                  <a:pt x="1524626" y="6316025"/>
                  <a:pt x="1520202" y="6315299"/>
                  <a:pt x="1515164" y="6315299"/>
                </a:cubicBezTo>
                <a:close/>
                <a:moveTo>
                  <a:pt x="1479543" y="6315299"/>
                </a:moveTo>
                <a:cubicBezTo>
                  <a:pt x="1477003" y="6315299"/>
                  <a:pt x="1474675" y="6316025"/>
                  <a:pt x="1472559" y="6317476"/>
                </a:cubicBezTo>
                <a:cubicBezTo>
                  <a:pt x="1470443" y="6318927"/>
                  <a:pt x="1468135" y="6321930"/>
                  <a:pt x="1465637" y="6326485"/>
                </a:cubicBezTo>
                <a:lnTo>
                  <a:pt x="1465637" y="6316750"/>
                </a:lnTo>
                <a:lnTo>
                  <a:pt x="1455842" y="6316750"/>
                </a:lnTo>
                <a:lnTo>
                  <a:pt x="1455842" y="6380960"/>
                </a:lnTo>
                <a:lnTo>
                  <a:pt x="1466725" y="6380960"/>
                </a:lnTo>
                <a:lnTo>
                  <a:pt x="1466725" y="6347344"/>
                </a:lnTo>
                <a:cubicBezTo>
                  <a:pt x="1466725" y="6342749"/>
                  <a:pt x="1467329" y="6338516"/>
                  <a:pt x="1468539" y="6334647"/>
                </a:cubicBezTo>
                <a:cubicBezTo>
                  <a:pt x="1469345" y="6332107"/>
                  <a:pt x="1470695" y="6330122"/>
                  <a:pt x="1472589" y="6328691"/>
                </a:cubicBezTo>
                <a:cubicBezTo>
                  <a:pt x="1474484" y="6327260"/>
                  <a:pt x="1476620" y="6326545"/>
                  <a:pt x="1478999" y="6326545"/>
                </a:cubicBezTo>
                <a:cubicBezTo>
                  <a:pt x="1481659" y="6326545"/>
                  <a:pt x="1484319" y="6327331"/>
                  <a:pt x="1486979" y="6328903"/>
                </a:cubicBezTo>
                <a:lnTo>
                  <a:pt x="1490728" y="6318806"/>
                </a:lnTo>
                <a:cubicBezTo>
                  <a:pt x="1486939" y="6316468"/>
                  <a:pt x="1483211" y="6315299"/>
                  <a:pt x="1479543" y="6315299"/>
                </a:cubicBezTo>
                <a:close/>
                <a:moveTo>
                  <a:pt x="1416435" y="6315299"/>
                </a:moveTo>
                <a:cubicBezTo>
                  <a:pt x="1410913" y="6315299"/>
                  <a:pt x="1406056" y="6316055"/>
                  <a:pt x="1401864" y="6317566"/>
                </a:cubicBezTo>
                <a:cubicBezTo>
                  <a:pt x="1397672" y="6319078"/>
                  <a:pt x="1394467" y="6321234"/>
                  <a:pt x="1392250" y="6324036"/>
                </a:cubicBezTo>
                <a:cubicBezTo>
                  <a:pt x="1390033" y="6326837"/>
                  <a:pt x="1388441" y="6330515"/>
                  <a:pt x="1387474" y="6335070"/>
                </a:cubicBezTo>
                <a:lnTo>
                  <a:pt x="1398115" y="6336521"/>
                </a:lnTo>
                <a:cubicBezTo>
                  <a:pt x="1399284" y="6331966"/>
                  <a:pt x="1401088" y="6328792"/>
                  <a:pt x="1403526" y="6326998"/>
                </a:cubicBezTo>
                <a:cubicBezTo>
                  <a:pt x="1405965" y="6325205"/>
                  <a:pt x="1409744" y="6324308"/>
                  <a:pt x="1414863" y="6324308"/>
                </a:cubicBezTo>
                <a:cubicBezTo>
                  <a:pt x="1420344" y="6324308"/>
                  <a:pt x="1424476" y="6325537"/>
                  <a:pt x="1427257" y="6327996"/>
                </a:cubicBezTo>
                <a:cubicBezTo>
                  <a:pt x="1429313" y="6329810"/>
                  <a:pt x="1430341" y="6332934"/>
                  <a:pt x="1430341" y="6337368"/>
                </a:cubicBezTo>
                <a:cubicBezTo>
                  <a:pt x="1430341" y="6337771"/>
                  <a:pt x="1430321" y="6338718"/>
                  <a:pt x="1430280" y="6340209"/>
                </a:cubicBezTo>
                <a:cubicBezTo>
                  <a:pt x="1426129" y="6341660"/>
                  <a:pt x="1419659" y="6342910"/>
                  <a:pt x="1410872" y="6343958"/>
                </a:cubicBezTo>
                <a:cubicBezTo>
                  <a:pt x="1406560" y="6344482"/>
                  <a:pt x="1403335" y="6345026"/>
                  <a:pt x="1401198" y="6345590"/>
                </a:cubicBezTo>
                <a:cubicBezTo>
                  <a:pt x="1398296" y="6346396"/>
                  <a:pt x="1395686" y="6347586"/>
                  <a:pt x="1393369" y="6349158"/>
                </a:cubicBezTo>
                <a:cubicBezTo>
                  <a:pt x="1391051" y="6350730"/>
                  <a:pt x="1389177" y="6352815"/>
                  <a:pt x="1387746" y="6355415"/>
                </a:cubicBezTo>
                <a:cubicBezTo>
                  <a:pt x="1386315" y="6358015"/>
                  <a:pt x="1385599" y="6360887"/>
                  <a:pt x="1385599" y="6364031"/>
                </a:cubicBezTo>
                <a:cubicBezTo>
                  <a:pt x="1385599" y="6369392"/>
                  <a:pt x="1387494" y="6373796"/>
                  <a:pt x="1391283" y="6377242"/>
                </a:cubicBezTo>
                <a:cubicBezTo>
                  <a:pt x="1395072" y="6380688"/>
                  <a:pt x="1400493" y="6382411"/>
                  <a:pt x="1407547" y="6382411"/>
                </a:cubicBezTo>
                <a:cubicBezTo>
                  <a:pt x="1411820" y="6382411"/>
                  <a:pt x="1415820" y="6381706"/>
                  <a:pt x="1419549" y="6380295"/>
                </a:cubicBezTo>
                <a:cubicBezTo>
                  <a:pt x="1423277" y="6378884"/>
                  <a:pt x="1427157" y="6376466"/>
                  <a:pt x="1431187" y="6373040"/>
                </a:cubicBezTo>
                <a:cubicBezTo>
                  <a:pt x="1431510" y="6376063"/>
                  <a:pt x="1432235" y="6378703"/>
                  <a:pt x="1433364" y="6380960"/>
                </a:cubicBezTo>
                <a:lnTo>
                  <a:pt x="1444731" y="6380960"/>
                </a:lnTo>
                <a:cubicBezTo>
                  <a:pt x="1443360" y="6378501"/>
                  <a:pt x="1442443" y="6375932"/>
                  <a:pt x="1441980" y="6373251"/>
                </a:cubicBezTo>
                <a:cubicBezTo>
                  <a:pt x="1441516" y="6370571"/>
                  <a:pt x="1441284" y="6364172"/>
                  <a:pt x="1441284" y="6354055"/>
                </a:cubicBezTo>
                <a:lnTo>
                  <a:pt x="1441284" y="6339544"/>
                </a:lnTo>
                <a:cubicBezTo>
                  <a:pt x="1441284" y="6334707"/>
                  <a:pt x="1441103" y="6331362"/>
                  <a:pt x="1440740" y="6329508"/>
                </a:cubicBezTo>
                <a:cubicBezTo>
                  <a:pt x="1440095" y="6326525"/>
                  <a:pt x="1438967" y="6324056"/>
                  <a:pt x="1437354" y="6322101"/>
                </a:cubicBezTo>
                <a:cubicBezTo>
                  <a:pt x="1435742" y="6320146"/>
                  <a:pt x="1433223" y="6318524"/>
                  <a:pt x="1429797" y="6317234"/>
                </a:cubicBezTo>
                <a:cubicBezTo>
                  <a:pt x="1426371" y="6315944"/>
                  <a:pt x="1421916" y="6315299"/>
                  <a:pt x="1416435" y="6315299"/>
                </a:cubicBezTo>
                <a:close/>
                <a:moveTo>
                  <a:pt x="1167697" y="6315299"/>
                </a:moveTo>
                <a:cubicBezTo>
                  <a:pt x="1159756" y="6315299"/>
                  <a:pt x="1153025" y="6317677"/>
                  <a:pt x="1147502" y="6322434"/>
                </a:cubicBezTo>
                <a:cubicBezTo>
                  <a:pt x="1140892" y="6328157"/>
                  <a:pt x="1137587" y="6336964"/>
                  <a:pt x="1137587" y="6348855"/>
                </a:cubicBezTo>
                <a:cubicBezTo>
                  <a:pt x="1137587" y="6359698"/>
                  <a:pt x="1140358" y="6368001"/>
                  <a:pt x="1145900" y="6373765"/>
                </a:cubicBezTo>
                <a:cubicBezTo>
                  <a:pt x="1151442" y="6379529"/>
                  <a:pt x="1158708" y="6382411"/>
                  <a:pt x="1167697" y="6382411"/>
                </a:cubicBezTo>
                <a:cubicBezTo>
                  <a:pt x="1173299" y="6382411"/>
                  <a:pt x="1178469" y="6381101"/>
                  <a:pt x="1183205" y="6378481"/>
                </a:cubicBezTo>
                <a:cubicBezTo>
                  <a:pt x="1187941" y="6375861"/>
                  <a:pt x="1191549" y="6372183"/>
                  <a:pt x="1194027" y="6367447"/>
                </a:cubicBezTo>
                <a:cubicBezTo>
                  <a:pt x="1196506" y="6362711"/>
                  <a:pt x="1197746" y="6356211"/>
                  <a:pt x="1197746" y="6347948"/>
                </a:cubicBezTo>
                <a:cubicBezTo>
                  <a:pt x="1197746" y="6337750"/>
                  <a:pt x="1194944" y="6329760"/>
                  <a:pt x="1189342" y="6323975"/>
                </a:cubicBezTo>
                <a:cubicBezTo>
                  <a:pt x="1183739" y="6318191"/>
                  <a:pt x="1176524" y="6315299"/>
                  <a:pt x="1167697" y="6315299"/>
                </a:cubicBezTo>
                <a:close/>
                <a:moveTo>
                  <a:pt x="1057964" y="6315299"/>
                </a:moveTo>
                <a:cubicBezTo>
                  <a:pt x="1054618" y="6315299"/>
                  <a:pt x="1051484" y="6315732"/>
                  <a:pt x="1048562" y="6316599"/>
                </a:cubicBezTo>
                <a:cubicBezTo>
                  <a:pt x="1045640" y="6317466"/>
                  <a:pt x="1043332" y="6318524"/>
                  <a:pt x="1041639" y="6319773"/>
                </a:cubicBezTo>
                <a:cubicBezTo>
                  <a:pt x="1039382" y="6321386"/>
                  <a:pt x="1037598" y="6323411"/>
                  <a:pt x="1036288" y="6325850"/>
                </a:cubicBezTo>
                <a:cubicBezTo>
                  <a:pt x="1034978" y="6328288"/>
                  <a:pt x="1034323" y="6330938"/>
                  <a:pt x="1034323" y="6333800"/>
                </a:cubicBezTo>
                <a:cubicBezTo>
                  <a:pt x="1034323" y="6336944"/>
                  <a:pt x="1035119" y="6339816"/>
                  <a:pt x="1036711" y="6342416"/>
                </a:cubicBezTo>
                <a:cubicBezTo>
                  <a:pt x="1038303" y="6345016"/>
                  <a:pt x="1040641" y="6347051"/>
                  <a:pt x="1043725" y="6348523"/>
                </a:cubicBezTo>
                <a:cubicBezTo>
                  <a:pt x="1046808" y="6349994"/>
                  <a:pt x="1052341" y="6351737"/>
                  <a:pt x="1060322" y="6353753"/>
                </a:cubicBezTo>
                <a:cubicBezTo>
                  <a:pt x="1066247" y="6355244"/>
                  <a:pt x="1069955" y="6356473"/>
                  <a:pt x="1071446" y="6357441"/>
                </a:cubicBezTo>
                <a:cubicBezTo>
                  <a:pt x="1073583" y="6358852"/>
                  <a:pt x="1074651" y="6360786"/>
                  <a:pt x="1074651" y="6363245"/>
                </a:cubicBezTo>
                <a:cubicBezTo>
                  <a:pt x="1074651" y="6365986"/>
                  <a:pt x="1073442" y="6368374"/>
                  <a:pt x="1071023" y="6370410"/>
                </a:cubicBezTo>
                <a:cubicBezTo>
                  <a:pt x="1068605" y="6372445"/>
                  <a:pt x="1064897" y="6373463"/>
                  <a:pt x="1059898" y="6373463"/>
                </a:cubicBezTo>
                <a:cubicBezTo>
                  <a:pt x="1054941" y="6373463"/>
                  <a:pt x="1051081" y="6372314"/>
                  <a:pt x="1048320" y="6370017"/>
                </a:cubicBezTo>
                <a:cubicBezTo>
                  <a:pt x="1045559" y="6367719"/>
                  <a:pt x="1043876" y="6364414"/>
                  <a:pt x="1043271" y="6360101"/>
                </a:cubicBezTo>
                <a:lnTo>
                  <a:pt x="1032509" y="6361794"/>
                </a:lnTo>
                <a:cubicBezTo>
                  <a:pt x="1033719" y="6368606"/>
                  <a:pt x="1036510" y="6373745"/>
                  <a:pt x="1040883" y="6377212"/>
                </a:cubicBezTo>
                <a:cubicBezTo>
                  <a:pt x="1045257" y="6380678"/>
                  <a:pt x="1051615" y="6382411"/>
                  <a:pt x="1059959" y="6382411"/>
                </a:cubicBezTo>
                <a:cubicBezTo>
                  <a:pt x="1064997" y="6382411"/>
                  <a:pt x="1069512" y="6381535"/>
                  <a:pt x="1073502" y="6379781"/>
                </a:cubicBezTo>
                <a:cubicBezTo>
                  <a:pt x="1077493" y="6378028"/>
                  <a:pt x="1080546" y="6375549"/>
                  <a:pt x="1082662" y="6372344"/>
                </a:cubicBezTo>
                <a:cubicBezTo>
                  <a:pt x="1084778" y="6369140"/>
                  <a:pt x="1085836" y="6365724"/>
                  <a:pt x="1085836" y="6362096"/>
                </a:cubicBezTo>
                <a:cubicBezTo>
                  <a:pt x="1085836" y="6358388"/>
                  <a:pt x="1084970" y="6355284"/>
                  <a:pt x="1083236" y="6352785"/>
                </a:cubicBezTo>
                <a:cubicBezTo>
                  <a:pt x="1081503" y="6350286"/>
                  <a:pt x="1079115" y="6348382"/>
                  <a:pt x="1076072" y="6347072"/>
                </a:cubicBezTo>
                <a:cubicBezTo>
                  <a:pt x="1073029" y="6345762"/>
                  <a:pt x="1067658" y="6344079"/>
                  <a:pt x="1059959" y="6342023"/>
                </a:cubicBezTo>
                <a:cubicBezTo>
                  <a:pt x="1054638" y="6340572"/>
                  <a:pt x="1051434" y="6339645"/>
                  <a:pt x="1050345" y="6339242"/>
                </a:cubicBezTo>
                <a:cubicBezTo>
                  <a:pt x="1048451" y="6338476"/>
                  <a:pt x="1047060" y="6337509"/>
                  <a:pt x="1046174" y="6336340"/>
                </a:cubicBezTo>
                <a:cubicBezTo>
                  <a:pt x="1045287" y="6335211"/>
                  <a:pt x="1044843" y="6333941"/>
                  <a:pt x="1044843" y="6332531"/>
                </a:cubicBezTo>
                <a:cubicBezTo>
                  <a:pt x="1044843" y="6330314"/>
                  <a:pt x="1045912" y="6328379"/>
                  <a:pt x="1048048" y="6326726"/>
                </a:cubicBezTo>
                <a:cubicBezTo>
                  <a:pt x="1050184" y="6325074"/>
                  <a:pt x="1053752" y="6324247"/>
                  <a:pt x="1058750" y="6324247"/>
                </a:cubicBezTo>
                <a:cubicBezTo>
                  <a:pt x="1062982" y="6324247"/>
                  <a:pt x="1066257" y="6325175"/>
                  <a:pt x="1068575" y="6327029"/>
                </a:cubicBezTo>
                <a:cubicBezTo>
                  <a:pt x="1070892" y="6328883"/>
                  <a:pt x="1072293" y="6331462"/>
                  <a:pt x="1072777" y="6334768"/>
                </a:cubicBezTo>
                <a:lnTo>
                  <a:pt x="1083418" y="6333317"/>
                </a:lnTo>
                <a:cubicBezTo>
                  <a:pt x="1082733" y="6329165"/>
                  <a:pt x="1081483" y="6325850"/>
                  <a:pt x="1079669" y="6323371"/>
                </a:cubicBezTo>
                <a:cubicBezTo>
                  <a:pt x="1077855" y="6320892"/>
                  <a:pt x="1075044" y="6318927"/>
                  <a:pt x="1071235" y="6317476"/>
                </a:cubicBezTo>
                <a:cubicBezTo>
                  <a:pt x="1067426" y="6316025"/>
                  <a:pt x="1063002" y="6315299"/>
                  <a:pt x="1057964" y="6315299"/>
                </a:cubicBezTo>
                <a:close/>
                <a:moveTo>
                  <a:pt x="991289" y="6315299"/>
                </a:moveTo>
                <a:cubicBezTo>
                  <a:pt x="987943" y="6315299"/>
                  <a:pt x="984809" y="6315732"/>
                  <a:pt x="981887" y="6316599"/>
                </a:cubicBezTo>
                <a:cubicBezTo>
                  <a:pt x="978964" y="6317466"/>
                  <a:pt x="976657" y="6318524"/>
                  <a:pt x="974964" y="6319773"/>
                </a:cubicBezTo>
                <a:cubicBezTo>
                  <a:pt x="972707" y="6321386"/>
                  <a:pt x="970923" y="6323411"/>
                  <a:pt x="969613" y="6325850"/>
                </a:cubicBezTo>
                <a:cubicBezTo>
                  <a:pt x="968303" y="6328288"/>
                  <a:pt x="967648" y="6330938"/>
                  <a:pt x="967648" y="6333800"/>
                </a:cubicBezTo>
                <a:cubicBezTo>
                  <a:pt x="967648" y="6336944"/>
                  <a:pt x="968444" y="6339816"/>
                  <a:pt x="970036" y="6342416"/>
                </a:cubicBezTo>
                <a:cubicBezTo>
                  <a:pt x="971629" y="6345016"/>
                  <a:pt x="973966" y="6347051"/>
                  <a:pt x="977050" y="6348523"/>
                </a:cubicBezTo>
                <a:cubicBezTo>
                  <a:pt x="980133" y="6349994"/>
                  <a:pt x="985666" y="6351737"/>
                  <a:pt x="993647" y="6353753"/>
                </a:cubicBezTo>
                <a:cubicBezTo>
                  <a:pt x="999572" y="6355244"/>
                  <a:pt x="1003280" y="6356473"/>
                  <a:pt x="1004771" y="6357441"/>
                </a:cubicBezTo>
                <a:cubicBezTo>
                  <a:pt x="1006908" y="6358852"/>
                  <a:pt x="1007976" y="6360786"/>
                  <a:pt x="1007976" y="6363245"/>
                </a:cubicBezTo>
                <a:cubicBezTo>
                  <a:pt x="1007976" y="6365986"/>
                  <a:pt x="1006767" y="6368374"/>
                  <a:pt x="1004348" y="6370410"/>
                </a:cubicBezTo>
                <a:cubicBezTo>
                  <a:pt x="1001930" y="6372445"/>
                  <a:pt x="998221" y="6373463"/>
                  <a:pt x="993223" y="6373463"/>
                </a:cubicBezTo>
                <a:cubicBezTo>
                  <a:pt x="988265" y="6373463"/>
                  <a:pt x="984406" y="6372314"/>
                  <a:pt x="981645" y="6370017"/>
                </a:cubicBezTo>
                <a:cubicBezTo>
                  <a:pt x="978884" y="6367719"/>
                  <a:pt x="977201" y="6364414"/>
                  <a:pt x="976597" y="6360101"/>
                </a:cubicBezTo>
                <a:lnTo>
                  <a:pt x="965834" y="6361794"/>
                </a:lnTo>
                <a:cubicBezTo>
                  <a:pt x="967043" y="6368606"/>
                  <a:pt x="969835" y="6373745"/>
                  <a:pt x="974208" y="6377212"/>
                </a:cubicBezTo>
                <a:cubicBezTo>
                  <a:pt x="978582" y="6380678"/>
                  <a:pt x="984940" y="6382411"/>
                  <a:pt x="993284" y="6382411"/>
                </a:cubicBezTo>
                <a:cubicBezTo>
                  <a:pt x="998322" y="6382411"/>
                  <a:pt x="1002837" y="6381535"/>
                  <a:pt x="1006827" y="6379781"/>
                </a:cubicBezTo>
                <a:cubicBezTo>
                  <a:pt x="1010818" y="6378028"/>
                  <a:pt x="1013871" y="6375549"/>
                  <a:pt x="1015987" y="6372344"/>
                </a:cubicBezTo>
                <a:cubicBezTo>
                  <a:pt x="1018103" y="6369140"/>
                  <a:pt x="1019161" y="6365724"/>
                  <a:pt x="1019161" y="6362096"/>
                </a:cubicBezTo>
                <a:cubicBezTo>
                  <a:pt x="1019161" y="6358388"/>
                  <a:pt x="1018295" y="6355284"/>
                  <a:pt x="1016561" y="6352785"/>
                </a:cubicBezTo>
                <a:cubicBezTo>
                  <a:pt x="1014828" y="6350286"/>
                  <a:pt x="1012440" y="6348382"/>
                  <a:pt x="1009397" y="6347072"/>
                </a:cubicBezTo>
                <a:cubicBezTo>
                  <a:pt x="1006353" y="6345762"/>
                  <a:pt x="1000983" y="6344079"/>
                  <a:pt x="993284" y="6342023"/>
                </a:cubicBezTo>
                <a:cubicBezTo>
                  <a:pt x="987963" y="6340572"/>
                  <a:pt x="984759" y="6339645"/>
                  <a:pt x="983670" y="6339242"/>
                </a:cubicBezTo>
                <a:cubicBezTo>
                  <a:pt x="981776" y="6338476"/>
                  <a:pt x="980385" y="6337509"/>
                  <a:pt x="979499" y="6336340"/>
                </a:cubicBezTo>
                <a:cubicBezTo>
                  <a:pt x="978612" y="6335211"/>
                  <a:pt x="978169" y="6333941"/>
                  <a:pt x="978169" y="6332531"/>
                </a:cubicBezTo>
                <a:cubicBezTo>
                  <a:pt x="978169" y="6330314"/>
                  <a:pt x="979237" y="6328379"/>
                  <a:pt x="981373" y="6326726"/>
                </a:cubicBezTo>
                <a:cubicBezTo>
                  <a:pt x="983509" y="6325074"/>
                  <a:pt x="987076" y="6324247"/>
                  <a:pt x="992075" y="6324247"/>
                </a:cubicBezTo>
                <a:cubicBezTo>
                  <a:pt x="996307" y="6324247"/>
                  <a:pt x="999582" y="6325175"/>
                  <a:pt x="1001899" y="6327029"/>
                </a:cubicBezTo>
                <a:cubicBezTo>
                  <a:pt x="1004217" y="6328883"/>
                  <a:pt x="1005618" y="6331462"/>
                  <a:pt x="1006102" y="6334768"/>
                </a:cubicBezTo>
                <a:lnTo>
                  <a:pt x="1016743" y="6333317"/>
                </a:lnTo>
                <a:cubicBezTo>
                  <a:pt x="1016058" y="6329165"/>
                  <a:pt x="1014808" y="6325850"/>
                  <a:pt x="1012994" y="6323371"/>
                </a:cubicBezTo>
                <a:cubicBezTo>
                  <a:pt x="1011180" y="6320892"/>
                  <a:pt x="1008369" y="6318927"/>
                  <a:pt x="1004560" y="6317476"/>
                </a:cubicBezTo>
                <a:cubicBezTo>
                  <a:pt x="1000751" y="6316025"/>
                  <a:pt x="996327" y="6315299"/>
                  <a:pt x="991289" y="6315299"/>
                </a:cubicBezTo>
                <a:close/>
                <a:moveTo>
                  <a:pt x="929874" y="6315299"/>
                </a:moveTo>
                <a:cubicBezTo>
                  <a:pt x="921006" y="6315299"/>
                  <a:pt x="913791" y="6318282"/>
                  <a:pt x="908228" y="6324247"/>
                </a:cubicBezTo>
                <a:cubicBezTo>
                  <a:pt x="902666" y="6330213"/>
                  <a:pt x="899885" y="6338597"/>
                  <a:pt x="899885" y="6349399"/>
                </a:cubicBezTo>
                <a:cubicBezTo>
                  <a:pt x="899885" y="6359839"/>
                  <a:pt x="902636" y="6367951"/>
                  <a:pt x="908138" y="6373735"/>
                </a:cubicBezTo>
                <a:cubicBezTo>
                  <a:pt x="913640" y="6379519"/>
                  <a:pt x="921087" y="6382411"/>
                  <a:pt x="930478" y="6382411"/>
                </a:cubicBezTo>
                <a:cubicBezTo>
                  <a:pt x="937935" y="6382411"/>
                  <a:pt x="944062" y="6380597"/>
                  <a:pt x="948859" y="6376970"/>
                </a:cubicBezTo>
                <a:cubicBezTo>
                  <a:pt x="953655" y="6373342"/>
                  <a:pt x="956940" y="6368243"/>
                  <a:pt x="958714" y="6361673"/>
                </a:cubicBezTo>
                <a:lnTo>
                  <a:pt x="947468" y="6360282"/>
                </a:lnTo>
                <a:cubicBezTo>
                  <a:pt x="945815" y="6364878"/>
                  <a:pt x="943578" y="6368223"/>
                  <a:pt x="940757" y="6370319"/>
                </a:cubicBezTo>
                <a:cubicBezTo>
                  <a:pt x="937935" y="6372415"/>
                  <a:pt x="934529" y="6373463"/>
                  <a:pt x="930539" y="6373463"/>
                </a:cubicBezTo>
                <a:cubicBezTo>
                  <a:pt x="925178" y="6373463"/>
                  <a:pt x="920704" y="6371589"/>
                  <a:pt x="917116" y="6367840"/>
                </a:cubicBezTo>
                <a:cubicBezTo>
                  <a:pt x="913529" y="6364092"/>
                  <a:pt x="911534" y="6358690"/>
                  <a:pt x="911131" y="6351636"/>
                </a:cubicBezTo>
                <a:lnTo>
                  <a:pt x="959016" y="6351636"/>
                </a:lnTo>
                <a:cubicBezTo>
                  <a:pt x="959056" y="6350347"/>
                  <a:pt x="959077" y="6349379"/>
                  <a:pt x="959077" y="6348734"/>
                </a:cubicBezTo>
                <a:cubicBezTo>
                  <a:pt x="959077" y="6338133"/>
                  <a:pt x="956356" y="6329911"/>
                  <a:pt x="950914" y="6324066"/>
                </a:cubicBezTo>
                <a:cubicBezTo>
                  <a:pt x="945473" y="6318221"/>
                  <a:pt x="938459" y="6315299"/>
                  <a:pt x="929874" y="6315299"/>
                </a:cubicBezTo>
                <a:close/>
                <a:moveTo>
                  <a:pt x="867068" y="6315299"/>
                </a:moveTo>
                <a:cubicBezTo>
                  <a:pt x="858160" y="6315299"/>
                  <a:pt x="851348" y="6318826"/>
                  <a:pt x="846632" y="6325880"/>
                </a:cubicBezTo>
                <a:lnTo>
                  <a:pt x="846632" y="6316750"/>
                </a:lnTo>
                <a:lnTo>
                  <a:pt x="836838" y="6316750"/>
                </a:lnTo>
                <a:lnTo>
                  <a:pt x="836838" y="6380960"/>
                </a:lnTo>
                <a:lnTo>
                  <a:pt x="847721" y="6380960"/>
                </a:lnTo>
                <a:lnTo>
                  <a:pt x="847721" y="6345893"/>
                </a:lnTo>
                <a:cubicBezTo>
                  <a:pt x="847721" y="6337670"/>
                  <a:pt x="849404" y="6332087"/>
                  <a:pt x="852769" y="6329145"/>
                </a:cubicBezTo>
                <a:cubicBezTo>
                  <a:pt x="856135" y="6326202"/>
                  <a:pt x="860135" y="6324731"/>
                  <a:pt x="864771" y="6324731"/>
                </a:cubicBezTo>
                <a:cubicBezTo>
                  <a:pt x="867673" y="6324731"/>
                  <a:pt x="870202" y="6325386"/>
                  <a:pt x="872359" y="6326696"/>
                </a:cubicBezTo>
                <a:cubicBezTo>
                  <a:pt x="874515" y="6328006"/>
                  <a:pt x="876017" y="6329760"/>
                  <a:pt x="876863" y="6331956"/>
                </a:cubicBezTo>
                <a:cubicBezTo>
                  <a:pt x="877709" y="6334153"/>
                  <a:pt x="878133" y="6337468"/>
                  <a:pt x="878133" y="6341902"/>
                </a:cubicBezTo>
                <a:lnTo>
                  <a:pt x="878133" y="6380960"/>
                </a:lnTo>
                <a:lnTo>
                  <a:pt x="889016" y="6380960"/>
                </a:lnTo>
                <a:lnTo>
                  <a:pt x="889016" y="6341479"/>
                </a:lnTo>
                <a:cubicBezTo>
                  <a:pt x="889016" y="6336440"/>
                  <a:pt x="888814" y="6332914"/>
                  <a:pt x="888411" y="6330898"/>
                </a:cubicBezTo>
                <a:cubicBezTo>
                  <a:pt x="887766" y="6327795"/>
                  <a:pt x="886638" y="6325114"/>
                  <a:pt x="885025" y="6322857"/>
                </a:cubicBezTo>
                <a:cubicBezTo>
                  <a:pt x="883413" y="6320600"/>
                  <a:pt x="880984" y="6318776"/>
                  <a:pt x="877740" y="6317385"/>
                </a:cubicBezTo>
                <a:cubicBezTo>
                  <a:pt x="874495" y="6315994"/>
                  <a:pt x="870938" y="6315299"/>
                  <a:pt x="867068" y="6315299"/>
                </a:cubicBezTo>
                <a:close/>
                <a:moveTo>
                  <a:pt x="762689" y="6315299"/>
                </a:moveTo>
                <a:cubicBezTo>
                  <a:pt x="759343" y="6315299"/>
                  <a:pt x="756209" y="6315732"/>
                  <a:pt x="753287" y="6316599"/>
                </a:cubicBezTo>
                <a:cubicBezTo>
                  <a:pt x="750365" y="6317466"/>
                  <a:pt x="748057" y="6318524"/>
                  <a:pt x="746364" y="6319773"/>
                </a:cubicBezTo>
                <a:cubicBezTo>
                  <a:pt x="744107" y="6321386"/>
                  <a:pt x="742323" y="6323411"/>
                  <a:pt x="741013" y="6325850"/>
                </a:cubicBezTo>
                <a:cubicBezTo>
                  <a:pt x="739703" y="6328288"/>
                  <a:pt x="739048" y="6330938"/>
                  <a:pt x="739048" y="6333800"/>
                </a:cubicBezTo>
                <a:cubicBezTo>
                  <a:pt x="739048" y="6336944"/>
                  <a:pt x="739844" y="6339816"/>
                  <a:pt x="741436" y="6342416"/>
                </a:cubicBezTo>
                <a:cubicBezTo>
                  <a:pt x="743029" y="6345016"/>
                  <a:pt x="745366" y="6347051"/>
                  <a:pt x="748450" y="6348523"/>
                </a:cubicBezTo>
                <a:cubicBezTo>
                  <a:pt x="751533" y="6349994"/>
                  <a:pt x="757066" y="6351737"/>
                  <a:pt x="765047" y="6353753"/>
                </a:cubicBezTo>
                <a:cubicBezTo>
                  <a:pt x="770972" y="6355244"/>
                  <a:pt x="774680" y="6356473"/>
                  <a:pt x="776171" y="6357441"/>
                </a:cubicBezTo>
                <a:cubicBezTo>
                  <a:pt x="778308" y="6358852"/>
                  <a:pt x="779376" y="6360786"/>
                  <a:pt x="779376" y="6363245"/>
                </a:cubicBezTo>
                <a:cubicBezTo>
                  <a:pt x="779376" y="6365986"/>
                  <a:pt x="778167" y="6368374"/>
                  <a:pt x="775748" y="6370410"/>
                </a:cubicBezTo>
                <a:cubicBezTo>
                  <a:pt x="773330" y="6372445"/>
                  <a:pt x="769622" y="6373463"/>
                  <a:pt x="764623" y="6373463"/>
                </a:cubicBezTo>
                <a:cubicBezTo>
                  <a:pt x="759665" y="6373463"/>
                  <a:pt x="755806" y="6372314"/>
                  <a:pt x="753045" y="6370017"/>
                </a:cubicBezTo>
                <a:cubicBezTo>
                  <a:pt x="750284" y="6367719"/>
                  <a:pt x="748601" y="6364414"/>
                  <a:pt x="747996" y="6360101"/>
                </a:cubicBezTo>
                <a:lnTo>
                  <a:pt x="737234" y="6361794"/>
                </a:lnTo>
                <a:cubicBezTo>
                  <a:pt x="738444" y="6368606"/>
                  <a:pt x="741235" y="6373745"/>
                  <a:pt x="745608" y="6377212"/>
                </a:cubicBezTo>
                <a:cubicBezTo>
                  <a:pt x="749982" y="6380678"/>
                  <a:pt x="756340" y="6382411"/>
                  <a:pt x="764684" y="6382411"/>
                </a:cubicBezTo>
                <a:cubicBezTo>
                  <a:pt x="769722" y="6382411"/>
                  <a:pt x="774237" y="6381535"/>
                  <a:pt x="778227" y="6379781"/>
                </a:cubicBezTo>
                <a:cubicBezTo>
                  <a:pt x="782218" y="6378028"/>
                  <a:pt x="785271" y="6375549"/>
                  <a:pt x="787387" y="6372344"/>
                </a:cubicBezTo>
                <a:cubicBezTo>
                  <a:pt x="789503" y="6369140"/>
                  <a:pt x="790561" y="6365724"/>
                  <a:pt x="790561" y="6362096"/>
                </a:cubicBezTo>
                <a:cubicBezTo>
                  <a:pt x="790561" y="6358388"/>
                  <a:pt x="789695" y="6355284"/>
                  <a:pt x="787961" y="6352785"/>
                </a:cubicBezTo>
                <a:cubicBezTo>
                  <a:pt x="786228" y="6350286"/>
                  <a:pt x="783840" y="6348382"/>
                  <a:pt x="780797" y="6347072"/>
                </a:cubicBezTo>
                <a:cubicBezTo>
                  <a:pt x="777753" y="6345762"/>
                  <a:pt x="772382" y="6344079"/>
                  <a:pt x="764684" y="6342023"/>
                </a:cubicBezTo>
                <a:cubicBezTo>
                  <a:pt x="759363" y="6340572"/>
                  <a:pt x="756159" y="6339645"/>
                  <a:pt x="755070" y="6339242"/>
                </a:cubicBezTo>
                <a:cubicBezTo>
                  <a:pt x="753176" y="6338476"/>
                  <a:pt x="751785" y="6337509"/>
                  <a:pt x="750899" y="6336340"/>
                </a:cubicBezTo>
                <a:cubicBezTo>
                  <a:pt x="750012" y="6335211"/>
                  <a:pt x="749568" y="6333941"/>
                  <a:pt x="749568" y="6332531"/>
                </a:cubicBezTo>
                <a:cubicBezTo>
                  <a:pt x="749568" y="6330314"/>
                  <a:pt x="750637" y="6328379"/>
                  <a:pt x="752773" y="6326726"/>
                </a:cubicBezTo>
                <a:cubicBezTo>
                  <a:pt x="754909" y="6325074"/>
                  <a:pt x="758476" y="6324247"/>
                  <a:pt x="763475" y="6324247"/>
                </a:cubicBezTo>
                <a:cubicBezTo>
                  <a:pt x="767707" y="6324247"/>
                  <a:pt x="770982" y="6325175"/>
                  <a:pt x="773300" y="6327029"/>
                </a:cubicBezTo>
                <a:cubicBezTo>
                  <a:pt x="775617" y="6328883"/>
                  <a:pt x="777018" y="6331462"/>
                  <a:pt x="777502" y="6334768"/>
                </a:cubicBezTo>
                <a:lnTo>
                  <a:pt x="788143" y="6333317"/>
                </a:lnTo>
                <a:cubicBezTo>
                  <a:pt x="787458" y="6329165"/>
                  <a:pt x="786208" y="6325850"/>
                  <a:pt x="784394" y="6323371"/>
                </a:cubicBezTo>
                <a:cubicBezTo>
                  <a:pt x="782580" y="6320892"/>
                  <a:pt x="779769" y="6318927"/>
                  <a:pt x="775960" y="6317476"/>
                </a:cubicBezTo>
                <a:cubicBezTo>
                  <a:pt x="772151" y="6316025"/>
                  <a:pt x="767727" y="6315299"/>
                  <a:pt x="762689" y="6315299"/>
                </a:cubicBezTo>
                <a:close/>
                <a:moveTo>
                  <a:pt x="525680" y="6301635"/>
                </a:moveTo>
                <a:cubicBezTo>
                  <a:pt x="527050" y="6306431"/>
                  <a:pt x="529146" y="6312558"/>
                  <a:pt x="531968" y="6320015"/>
                </a:cubicBezTo>
                <a:lnTo>
                  <a:pt x="541218" y="6344562"/>
                </a:lnTo>
                <a:lnTo>
                  <a:pt x="511169" y="6344562"/>
                </a:lnTo>
                <a:lnTo>
                  <a:pt x="520903" y="6318564"/>
                </a:lnTo>
                <a:cubicBezTo>
                  <a:pt x="522959" y="6312961"/>
                  <a:pt x="524551" y="6307318"/>
                  <a:pt x="525680" y="6301635"/>
                </a:cubicBezTo>
                <a:close/>
                <a:moveTo>
                  <a:pt x="1847395" y="6292324"/>
                </a:moveTo>
                <a:lnTo>
                  <a:pt x="1847395" y="6380960"/>
                </a:lnTo>
                <a:lnTo>
                  <a:pt x="1902777" y="6380960"/>
                </a:lnTo>
                <a:lnTo>
                  <a:pt x="1902777" y="6370500"/>
                </a:lnTo>
                <a:lnTo>
                  <a:pt x="1859124" y="6370500"/>
                </a:lnTo>
                <a:lnTo>
                  <a:pt x="1859124" y="6292324"/>
                </a:lnTo>
                <a:close/>
                <a:moveTo>
                  <a:pt x="1676066" y="6292324"/>
                </a:moveTo>
                <a:lnTo>
                  <a:pt x="1676066" y="6380960"/>
                </a:lnTo>
                <a:lnTo>
                  <a:pt x="1687372" y="6380960"/>
                </a:lnTo>
                <a:lnTo>
                  <a:pt x="1687372" y="6305504"/>
                </a:lnTo>
                <a:lnTo>
                  <a:pt x="1713007" y="6380960"/>
                </a:lnTo>
                <a:lnTo>
                  <a:pt x="1723588" y="6380960"/>
                </a:lnTo>
                <a:lnTo>
                  <a:pt x="1749345" y="6306774"/>
                </a:lnTo>
                <a:lnTo>
                  <a:pt x="1749345" y="6380960"/>
                </a:lnTo>
                <a:lnTo>
                  <a:pt x="1760651" y="6380960"/>
                </a:lnTo>
                <a:lnTo>
                  <a:pt x="1760651" y="6292324"/>
                </a:lnTo>
                <a:lnTo>
                  <a:pt x="1744871" y="6292324"/>
                </a:lnTo>
                <a:lnTo>
                  <a:pt x="1723649" y="6353994"/>
                </a:lnTo>
                <a:cubicBezTo>
                  <a:pt x="1721512" y="6360242"/>
                  <a:pt x="1719940" y="6364978"/>
                  <a:pt x="1718932" y="6368203"/>
                </a:cubicBezTo>
                <a:cubicBezTo>
                  <a:pt x="1718046" y="6365301"/>
                  <a:pt x="1716635" y="6360927"/>
                  <a:pt x="1714700" y="6355083"/>
                </a:cubicBezTo>
                <a:lnTo>
                  <a:pt x="1693720" y="6292324"/>
                </a:lnTo>
                <a:close/>
                <a:moveTo>
                  <a:pt x="1560738" y="6292324"/>
                </a:moveTo>
                <a:lnTo>
                  <a:pt x="1560738" y="6380960"/>
                </a:lnTo>
                <a:lnTo>
                  <a:pt x="1571621" y="6380960"/>
                </a:lnTo>
                <a:lnTo>
                  <a:pt x="1571621" y="6345832"/>
                </a:lnTo>
                <a:cubicBezTo>
                  <a:pt x="1571621" y="6340794"/>
                  <a:pt x="1572225" y="6336844"/>
                  <a:pt x="1573434" y="6333982"/>
                </a:cubicBezTo>
                <a:cubicBezTo>
                  <a:pt x="1574644" y="6331120"/>
                  <a:pt x="1576669" y="6328853"/>
                  <a:pt x="1579511" y="6327180"/>
                </a:cubicBezTo>
                <a:cubicBezTo>
                  <a:pt x="1582353" y="6325507"/>
                  <a:pt x="1585386" y="6324671"/>
                  <a:pt x="1588610" y="6324671"/>
                </a:cubicBezTo>
                <a:cubicBezTo>
                  <a:pt x="1592923" y="6324671"/>
                  <a:pt x="1596259" y="6325910"/>
                  <a:pt x="1598617" y="6328389"/>
                </a:cubicBezTo>
                <a:cubicBezTo>
                  <a:pt x="1600975" y="6330868"/>
                  <a:pt x="1602154" y="6334828"/>
                  <a:pt x="1602154" y="6340270"/>
                </a:cubicBezTo>
                <a:lnTo>
                  <a:pt x="1602154" y="6380960"/>
                </a:lnTo>
                <a:lnTo>
                  <a:pt x="1613037" y="6380960"/>
                </a:lnTo>
                <a:lnTo>
                  <a:pt x="1613037" y="6340270"/>
                </a:lnTo>
                <a:cubicBezTo>
                  <a:pt x="1613037" y="6333982"/>
                  <a:pt x="1612281" y="6329185"/>
                  <a:pt x="1610770" y="6325880"/>
                </a:cubicBezTo>
                <a:cubicBezTo>
                  <a:pt x="1609258" y="6322575"/>
                  <a:pt x="1606749" y="6319985"/>
                  <a:pt x="1603242" y="6318111"/>
                </a:cubicBezTo>
                <a:cubicBezTo>
                  <a:pt x="1599735" y="6316236"/>
                  <a:pt x="1595604" y="6315299"/>
                  <a:pt x="1590847" y="6315299"/>
                </a:cubicBezTo>
                <a:cubicBezTo>
                  <a:pt x="1583108" y="6315299"/>
                  <a:pt x="1576699" y="6318242"/>
                  <a:pt x="1571621" y="6324127"/>
                </a:cubicBezTo>
                <a:lnTo>
                  <a:pt x="1571621" y="6292324"/>
                </a:lnTo>
                <a:close/>
                <a:moveTo>
                  <a:pt x="1285541" y="6292324"/>
                </a:moveTo>
                <a:lnTo>
                  <a:pt x="1285541" y="6380960"/>
                </a:lnTo>
                <a:lnTo>
                  <a:pt x="1296847" y="6380960"/>
                </a:lnTo>
                <a:lnTo>
                  <a:pt x="1296847" y="6305504"/>
                </a:lnTo>
                <a:lnTo>
                  <a:pt x="1322483" y="6380960"/>
                </a:lnTo>
                <a:lnTo>
                  <a:pt x="1333063" y="6380960"/>
                </a:lnTo>
                <a:lnTo>
                  <a:pt x="1358820" y="6306774"/>
                </a:lnTo>
                <a:lnTo>
                  <a:pt x="1358820" y="6380960"/>
                </a:lnTo>
                <a:lnTo>
                  <a:pt x="1370126" y="6380960"/>
                </a:lnTo>
                <a:lnTo>
                  <a:pt x="1370126" y="6292324"/>
                </a:lnTo>
                <a:lnTo>
                  <a:pt x="1354346" y="6292324"/>
                </a:lnTo>
                <a:lnTo>
                  <a:pt x="1333124" y="6353994"/>
                </a:lnTo>
                <a:cubicBezTo>
                  <a:pt x="1330987" y="6360242"/>
                  <a:pt x="1329415" y="6364978"/>
                  <a:pt x="1328408" y="6368203"/>
                </a:cubicBezTo>
                <a:cubicBezTo>
                  <a:pt x="1327521" y="6365301"/>
                  <a:pt x="1326110" y="6360927"/>
                  <a:pt x="1324175" y="6355083"/>
                </a:cubicBezTo>
                <a:lnTo>
                  <a:pt x="1303195" y="6292324"/>
                </a:lnTo>
                <a:close/>
                <a:moveTo>
                  <a:pt x="808323" y="6292324"/>
                </a:moveTo>
                <a:lnTo>
                  <a:pt x="808323" y="6304839"/>
                </a:lnTo>
                <a:lnTo>
                  <a:pt x="819206" y="6304839"/>
                </a:lnTo>
                <a:lnTo>
                  <a:pt x="819206" y="6292324"/>
                </a:lnTo>
                <a:close/>
                <a:moveTo>
                  <a:pt x="608177" y="6292324"/>
                </a:moveTo>
                <a:lnTo>
                  <a:pt x="608177" y="6380960"/>
                </a:lnTo>
                <a:lnTo>
                  <a:pt x="618274" y="6380960"/>
                </a:lnTo>
                <a:lnTo>
                  <a:pt x="618274" y="6372919"/>
                </a:lnTo>
                <a:cubicBezTo>
                  <a:pt x="622587" y="6379247"/>
                  <a:pt x="628532" y="6382411"/>
                  <a:pt x="636110" y="6382411"/>
                </a:cubicBezTo>
                <a:cubicBezTo>
                  <a:pt x="643728" y="6382411"/>
                  <a:pt x="650258" y="6379408"/>
                  <a:pt x="655700" y="6373403"/>
                </a:cubicBezTo>
                <a:cubicBezTo>
                  <a:pt x="661141" y="6367397"/>
                  <a:pt x="663862" y="6358892"/>
                  <a:pt x="663862" y="6347888"/>
                </a:cubicBezTo>
                <a:cubicBezTo>
                  <a:pt x="663862" y="6343252"/>
                  <a:pt x="663217" y="6338899"/>
                  <a:pt x="661927" y="6334828"/>
                </a:cubicBezTo>
                <a:cubicBezTo>
                  <a:pt x="660637" y="6330757"/>
                  <a:pt x="658854" y="6327281"/>
                  <a:pt x="656576" y="6324399"/>
                </a:cubicBezTo>
                <a:cubicBezTo>
                  <a:pt x="654299" y="6321517"/>
                  <a:pt x="651397" y="6319280"/>
                  <a:pt x="647870" y="6317687"/>
                </a:cubicBezTo>
                <a:cubicBezTo>
                  <a:pt x="644343" y="6316095"/>
                  <a:pt x="640605" y="6315299"/>
                  <a:pt x="636654" y="6315299"/>
                </a:cubicBezTo>
                <a:cubicBezTo>
                  <a:pt x="629520" y="6315299"/>
                  <a:pt x="623655" y="6318181"/>
                  <a:pt x="619060" y="6323945"/>
                </a:cubicBezTo>
                <a:lnTo>
                  <a:pt x="619060" y="6292324"/>
                </a:lnTo>
                <a:close/>
                <a:moveTo>
                  <a:pt x="519634" y="6292324"/>
                </a:moveTo>
                <a:lnTo>
                  <a:pt x="485594" y="6380960"/>
                </a:lnTo>
                <a:lnTo>
                  <a:pt x="498049" y="6380960"/>
                </a:lnTo>
                <a:lnTo>
                  <a:pt x="507783" y="6354115"/>
                </a:lnTo>
                <a:lnTo>
                  <a:pt x="544846" y="6354115"/>
                </a:lnTo>
                <a:lnTo>
                  <a:pt x="555185" y="6380960"/>
                </a:lnTo>
                <a:lnTo>
                  <a:pt x="568547" y="6380960"/>
                </a:lnTo>
                <a:lnTo>
                  <a:pt x="532270" y="6292324"/>
                </a:lnTo>
                <a:close/>
                <a:moveTo>
                  <a:pt x="1228688" y="6290812"/>
                </a:moveTo>
                <a:cubicBezTo>
                  <a:pt x="1223932" y="6290812"/>
                  <a:pt x="1220234" y="6291689"/>
                  <a:pt x="1217593" y="6293442"/>
                </a:cubicBezTo>
                <a:cubicBezTo>
                  <a:pt x="1214953" y="6295196"/>
                  <a:pt x="1213109" y="6297483"/>
                  <a:pt x="1212061" y="6300305"/>
                </a:cubicBezTo>
                <a:cubicBezTo>
                  <a:pt x="1211295" y="6302401"/>
                  <a:pt x="1210913" y="6305605"/>
                  <a:pt x="1210913" y="6309918"/>
                </a:cubicBezTo>
                <a:lnTo>
                  <a:pt x="1210913" y="6316750"/>
                </a:lnTo>
                <a:lnTo>
                  <a:pt x="1201299" y="6316750"/>
                </a:lnTo>
                <a:lnTo>
                  <a:pt x="1201299" y="6325215"/>
                </a:lnTo>
                <a:lnTo>
                  <a:pt x="1210913" y="6325215"/>
                </a:lnTo>
                <a:lnTo>
                  <a:pt x="1210913" y="6380960"/>
                </a:lnTo>
                <a:lnTo>
                  <a:pt x="1221735" y="6380960"/>
                </a:lnTo>
                <a:lnTo>
                  <a:pt x="1221735" y="6325215"/>
                </a:lnTo>
                <a:lnTo>
                  <a:pt x="1234251" y="6325215"/>
                </a:lnTo>
                <a:lnTo>
                  <a:pt x="1234251" y="6316750"/>
                </a:lnTo>
                <a:lnTo>
                  <a:pt x="1221735" y="6316750"/>
                </a:lnTo>
                <a:lnTo>
                  <a:pt x="1221735" y="6310825"/>
                </a:lnTo>
                <a:cubicBezTo>
                  <a:pt x="1221735" y="6306955"/>
                  <a:pt x="1222420" y="6304315"/>
                  <a:pt x="1223791" y="6302905"/>
                </a:cubicBezTo>
                <a:cubicBezTo>
                  <a:pt x="1225161" y="6301494"/>
                  <a:pt x="1227499" y="6300788"/>
                  <a:pt x="1230804" y="6300788"/>
                </a:cubicBezTo>
                <a:cubicBezTo>
                  <a:pt x="1232819" y="6300788"/>
                  <a:pt x="1234956" y="6300990"/>
                  <a:pt x="1237213" y="6301393"/>
                </a:cubicBezTo>
                <a:lnTo>
                  <a:pt x="1238846" y="6291901"/>
                </a:lnTo>
                <a:cubicBezTo>
                  <a:pt x="1235137" y="6291175"/>
                  <a:pt x="1231752" y="6290812"/>
                  <a:pt x="1228688" y="6290812"/>
                </a:cubicBezTo>
                <a:close/>
                <a:moveTo>
                  <a:pt x="2096894" y="521338"/>
                </a:moveTo>
                <a:cubicBezTo>
                  <a:pt x="2112454" y="521338"/>
                  <a:pt x="2126600" y="524189"/>
                  <a:pt x="2138859" y="529890"/>
                </a:cubicBezTo>
                <a:cubicBezTo>
                  <a:pt x="2137916" y="546993"/>
                  <a:pt x="2133201" y="559821"/>
                  <a:pt x="2124714" y="568373"/>
                </a:cubicBezTo>
                <a:cubicBezTo>
                  <a:pt x="2116226" y="577399"/>
                  <a:pt x="2104438" y="581675"/>
                  <a:pt x="2088878" y="581675"/>
                </a:cubicBezTo>
                <a:cubicBezTo>
                  <a:pt x="2078033" y="581675"/>
                  <a:pt x="2069546" y="579300"/>
                  <a:pt x="2063416" y="574074"/>
                </a:cubicBezTo>
                <a:cubicBezTo>
                  <a:pt x="2057286" y="568848"/>
                  <a:pt x="2054457" y="561721"/>
                  <a:pt x="2054457" y="552219"/>
                </a:cubicBezTo>
                <a:cubicBezTo>
                  <a:pt x="2054457" y="542242"/>
                  <a:pt x="2057758" y="534641"/>
                  <a:pt x="2064831" y="529415"/>
                </a:cubicBezTo>
                <a:cubicBezTo>
                  <a:pt x="2072375" y="524189"/>
                  <a:pt x="2082748" y="521338"/>
                  <a:pt x="2096894" y="521338"/>
                </a:cubicBezTo>
                <a:close/>
                <a:moveTo>
                  <a:pt x="2478849" y="452281"/>
                </a:moveTo>
                <a:cubicBezTo>
                  <a:pt x="2490186" y="452281"/>
                  <a:pt x="2499633" y="455139"/>
                  <a:pt x="2508136" y="460379"/>
                </a:cubicBezTo>
                <a:cubicBezTo>
                  <a:pt x="2516167" y="465618"/>
                  <a:pt x="2522780" y="472763"/>
                  <a:pt x="2527977" y="481814"/>
                </a:cubicBezTo>
                <a:cubicBezTo>
                  <a:pt x="2532700" y="490864"/>
                  <a:pt x="2535062" y="501820"/>
                  <a:pt x="2535062" y="513728"/>
                </a:cubicBezTo>
                <a:cubicBezTo>
                  <a:pt x="2535062" y="525637"/>
                  <a:pt x="2532700" y="536116"/>
                  <a:pt x="2527977" y="545643"/>
                </a:cubicBezTo>
                <a:cubicBezTo>
                  <a:pt x="2522780" y="554693"/>
                  <a:pt x="2516167" y="561838"/>
                  <a:pt x="2508136" y="567078"/>
                </a:cubicBezTo>
                <a:cubicBezTo>
                  <a:pt x="2499633" y="572317"/>
                  <a:pt x="2490186" y="574699"/>
                  <a:pt x="2478849" y="574699"/>
                </a:cubicBezTo>
                <a:cubicBezTo>
                  <a:pt x="2467984" y="574699"/>
                  <a:pt x="2458536" y="572317"/>
                  <a:pt x="2450033" y="567078"/>
                </a:cubicBezTo>
                <a:cubicBezTo>
                  <a:pt x="2441530" y="561838"/>
                  <a:pt x="2434917" y="554693"/>
                  <a:pt x="2430193" y="545643"/>
                </a:cubicBezTo>
                <a:cubicBezTo>
                  <a:pt x="2425469" y="536116"/>
                  <a:pt x="2423107" y="525637"/>
                  <a:pt x="2423107" y="513728"/>
                </a:cubicBezTo>
                <a:cubicBezTo>
                  <a:pt x="2423107" y="501820"/>
                  <a:pt x="2425469" y="490864"/>
                  <a:pt x="2430193" y="481814"/>
                </a:cubicBezTo>
                <a:cubicBezTo>
                  <a:pt x="2434917" y="472763"/>
                  <a:pt x="2441530" y="465618"/>
                  <a:pt x="2450033" y="460379"/>
                </a:cubicBezTo>
                <a:cubicBezTo>
                  <a:pt x="2458536" y="455139"/>
                  <a:pt x="2467984" y="452281"/>
                  <a:pt x="2478849" y="452281"/>
                </a:cubicBezTo>
                <a:close/>
                <a:moveTo>
                  <a:pt x="3294704" y="447050"/>
                </a:moveTo>
                <a:cubicBezTo>
                  <a:pt x="3307944" y="447050"/>
                  <a:pt x="3318347" y="450392"/>
                  <a:pt x="3326385" y="457554"/>
                </a:cubicBezTo>
                <a:cubicBezTo>
                  <a:pt x="3334424" y="464715"/>
                  <a:pt x="3339625" y="475219"/>
                  <a:pt x="3341990" y="489065"/>
                </a:cubicBezTo>
                <a:cubicBezTo>
                  <a:pt x="3342462" y="490974"/>
                  <a:pt x="3342462" y="493362"/>
                  <a:pt x="3342462" y="496226"/>
                </a:cubicBezTo>
                <a:cubicBezTo>
                  <a:pt x="3342462" y="496226"/>
                  <a:pt x="3342462" y="496226"/>
                  <a:pt x="3244109" y="496226"/>
                </a:cubicBezTo>
                <a:cubicBezTo>
                  <a:pt x="3246473" y="480948"/>
                  <a:pt x="3252148" y="468535"/>
                  <a:pt x="3260659" y="459941"/>
                </a:cubicBezTo>
                <a:cubicBezTo>
                  <a:pt x="3269170" y="451347"/>
                  <a:pt x="3280519" y="447050"/>
                  <a:pt x="3294704" y="447050"/>
                </a:cubicBezTo>
                <a:close/>
                <a:moveTo>
                  <a:pt x="2701269" y="447050"/>
                </a:moveTo>
                <a:cubicBezTo>
                  <a:pt x="2714462" y="447050"/>
                  <a:pt x="2724828" y="450392"/>
                  <a:pt x="2732837" y="457554"/>
                </a:cubicBezTo>
                <a:cubicBezTo>
                  <a:pt x="2740847" y="464715"/>
                  <a:pt x="2746030" y="475219"/>
                  <a:pt x="2748386" y="489065"/>
                </a:cubicBezTo>
                <a:cubicBezTo>
                  <a:pt x="2748857" y="490974"/>
                  <a:pt x="2748857" y="493362"/>
                  <a:pt x="2748857" y="496226"/>
                </a:cubicBezTo>
                <a:cubicBezTo>
                  <a:pt x="2748857" y="496226"/>
                  <a:pt x="2748857" y="496226"/>
                  <a:pt x="2650853" y="496226"/>
                </a:cubicBezTo>
                <a:cubicBezTo>
                  <a:pt x="2653209" y="480948"/>
                  <a:pt x="2658863" y="468535"/>
                  <a:pt x="2667344" y="459941"/>
                </a:cubicBezTo>
                <a:cubicBezTo>
                  <a:pt x="2676297" y="451347"/>
                  <a:pt x="2687605" y="447050"/>
                  <a:pt x="2701269" y="447050"/>
                </a:cubicBezTo>
                <a:close/>
                <a:moveTo>
                  <a:pt x="1538977" y="418451"/>
                </a:moveTo>
                <a:cubicBezTo>
                  <a:pt x="1538977" y="418451"/>
                  <a:pt x="1538977" y="418451"/>
                  <a:pt x="1620129" y="603138"/>
                </a:cubicBezTo>
                <a:cubicBezTo>
                  <a:pt x="1613996" y="617894"/>
                  <a:pt x="1607862" y="627890"/>
                  <a:pt x="1601257" y="633126"/>
                </a:cubicBezTo>
                <a:cubicBezTo>
                  <a:pt x="1594652" y="638361"/>
                  <a:pt x="1586159" y="640741"/>
                  <a:pt x="1575779" y="640741"/>
                </a:cubicBezTo>
                <a:cubicBezTo>
                  <a:pt x="1571061" y="640741"/>
                  <a:pt x="1565871" y="640265"/>
                  <a:pt x="1560209" y="638837"/>
                </a:cubicBezTo>
                <a:cubicBezTo>
                  <a:pt x="1555019" y="637409"/>
                  <a:pt x="1549829" y="635982"/>
                  <a:pt x="1545583" y="634077"/>
                </a:cubicBezTo>
                <a:cubicBezTo>
                  <a:pt x="1545583" y="634077"/>
                  <a:pt x="1545583" y="634077"/>
                  <a:pt x="1545583" y="673585"/>
                </a:cubicBezTo>
                <a:cubicBezTo>
                  <a:pt x="1550301" y="675489"/>
                  <a:pt x="1555963" y="676917"/>
                  <a:pt x="1561624" y="678345"/>
                </a:cubicBezTo>
                <a:cubicBezTo>
                  <a:pt x="1567758" y="679773"/>
                  <a:pt x="1572948" y="680725"/>
                  <a:pt x="1578138" y="680725"/>
                </a:cubicBezTo>
                <a:cubicBezTo>
                  <a:pt x="1589933" y="680725"/>
                  <a:pt x="1600313" y="678821"/>
                  <a:pt x="1610221" y="674537"/>
                </a:cubicBezTo>
                <a:cubicBezTo>
                  <a:pt x="1620129" y="670729"/>
                  <a:pt x="1629566" y="663113"/>
                  <a:pt x="1638058" y="652165"/>
                </a:cubicBezTo>
                <a:cubicBezTo>
                  <a:pt x="1647023" y="641217"/>
                  <a:pt x="1655516" y="625510"/>
                  <a:pt x="1664008" y="605042"/>
                </a:cubicBezTo>
                <a:cubicBezTo>
                  <a:pt x="1664008" y="605042"/>
                  <a:pt x="1664008" y="605042"/>
                  <a:pt x="1740914" y="418451"/>
                </a:cubicBezTo>
                <a:cubicBezTo>
                  <a:pt x="1740914" y="418451"/>
                  <a:pt x="1740914" y="418451"/>
                  <a:pt x="1697979" y="418451"/>
                </a:cubicBezTo>
                <a:cubicBezTo>
                  <a:pt x="1697979" y="418451"/>
                  <a:pt x="1697979" y="418451"/>
                  <a:pt x="1642777" y="552682"/>
                </a:cubicBezTo>
                <a:cubicBezTo>
                  <a:pt x="1642777" y="552682"/>
                  <a:pt x="1642777" y="552682"/>
                  <a:pt x="1583800" y="418451"/>
                </a:cubicBezTo>
                <a:cubicBezTo>
                  <a:pt x="1583800" y="418451"/>
                  <a:pt x="1583800" y="418451"/>
                  <a:pt x="1538977" y="418451"/>
                </a:cubicBezTo>
                <a:close/>
                <a:moveTo>
                  <a:pt x="1338434" y="418451"/>
                </a:moveTo>
                <a:cubicBezTo>
                  <a:pt x="1338434" y="418451"/>
                  <a:pt x="1338434" y="418451"/>
                  <a:pt x="1338434" y="537864"/>
                </a:cubicBezTo>
                <a:cubicBezTo>
                  <a:pt x="1338434" y="562603"/>
                  <a:pt x="1344103" y="581633"/>
                  <a:pt x="1355442" y="594478"/>
                </a:cubicBezTo>
                <a:cubicBezTo>
                  <a:pt x="1366780" y="607799"/>
                  <a:pt x="1382843" y="614459"/>
                  <a:pt x="1404102" y="614459"/>
                </a:cubicBezTo>
                <a:cubicBezTo>
                  <a:pt x="1418275" y="614459"/>
                  <a:pt x="1431031" y="611129"/>
                  <a:pt x="1441897" y="605420"/>
                </a:cubicBezTo>
                <a:cubicBezTo>
                  <a:pt x="1452290" y="599235"/>
                  <a:pt x="1460322" y="590196"/>
                  <a:pt x="1465518" y="579254"/>
                </a:cubicBezTo>
                <a:cubicBezTo>
                  <a:pt x="1465518" y="579254"/>
                  <a:pt x="1465518" y="579254"/>
                  <a:pt x="1466463" y="608274"/>
                </a:cubicBezTo>
                <a:cubicBezTo>
                  <a:pt x="1466463" y="608274"/>
                  <a:pt x="1466463" y="608274"/>
                  <a:pt x="1508982" y="608274"/>
                </a:cubicBezTo>
                <a:cubicBezTo>
                  <a:pt x="1508982" y="608274"/>
                  <a:pt x="1508982" y="608274"/>
                  <a:pt x="1508982" y="418451"/>
                </a:cubicBezTo>
                <a:cubicBezTo>
                  <a:pt x="1508982" y="418451"/>
                  <a:pt x="1508982" y="418451"/>
                  <a:pt x="1464574" y="418451"/>
                </a:cubicBezTo>
                <a:cubicBezTo>
                  <a:pt x="1464574" y="418451"/>
                  <a:pt x="1464574" y="418451"/>
                  <a:pt x="1464574" y="521688"/>
                </a:cubicBezTo>
                <a:cubicBezTo>
                  <a:pt x="1464574" y="538339"/>
                  <a:pt x="1460794" y="551185"/>
                  <a:pt x="1453235" y="560700"/>
                </a:cubicBezTo>
                <a:cubicBezTo>
                  <a:pt x="1445676" y="570215"/>
                  <a:pt x="1434810" y="574972"/>
                  <a:pt x="1421110" y="574972"/>
                </a:cubicBezTo>
                <a:cubicBezTo>
                  <a:pt x="1407409" y="574972"/>
                  <a:pt x="1397488" y="571166"/>
                  <a:pt x="1391819" y="563554"/>
                </a:cubicBezTo>
                <a:cubicBezTo>
                  <a:pt x="1385677" y="555942"/>
                  <a:pt x="1382843" y="544049"/>
                  <a:pt x="1382843" y="527397"/>
                </a:cubicBezTo>
                <a:cubicBezTo>
                  <a:pt x="1382843" y="527397"/>
                  <a:pt x="1382843" y="527397"/>
                  <a:pt x="1382843" y="418451"/>
                </a:cubicBezTo>
                <a:cubicBezTo>
                  <a:pt x="1382843" y="418451"/>
                  <a:pt x="1382843" y="418451"/>
                  <a:pt x="1338434" y="418451"/>
                </a:cubicBezTo>
                <a:close/>
                <a:moveTo>
                  <a:pt x="3524091" y="415661"/>
                </a:moveTo>
                <a:cubicBezTo>
                  <a:pt x="3511309" y="415661"/>
                  <a:pt x="3499474" y="419471"/>
                  <a:pt x="3489531" y="427090"/>
                </a:cubicBezTo>
                <a:cubicBezTo>
                  <a:pt x="3479116" y="434710"/>
                  <a:pt x="3471541" y="445187"/>
                  <a:pt x="3466334" y="458045"/>
                </a:cubicBezTo>
                <a:cubicBezTo>
                  <a:pt x="3466334" y="458045"/>
                  <a:pt x="3466334" y="458045"/>
                  <a:pt x="3466334" y="418518"/>
                </a:cubicBezTo>
                <a:cubicBezTo>
                  <a:pt x="3466334" y="418518"/>
                  <a:pt x="3466334" y="418518"/>
                  <a:pt x="3423725" y="418518"/>
                </a:cubicBezTo>
                <a:cubicBezTo>
                  <a:pt x="3423725" y="418518"/>
                  <a:pt x="3423725" y="418518"/>
                  <a:pt x="3423725" y="608530"/>
                </a:cubicBezTo>
                <a:lnTo>
                  <a:pt x="3468227" y="608530"/>
                </a:lnTo>
                <a:cubicBezTo>
                  <a:pt x="3468227" y="608530"/>
                  <a:pt x="3468227" y="608530"/>
                  <a:pt x="3468227" y="519953"/>
                </a:cubicBezTo>
                <a:cubicBezTo>
                  <a:pt x="3468227" y="499476"/>
                  <a:pt x="3472488" y="484237"/>
                  <a:pt x="3481010" y="473284"/>
                </a:cubicBezTo>
                <a:cubicBezTo>
                  <a:pt x="3489531" y="462807"/>
                  <a:pt x="3502314" y="457568"/>
                  <a:pt x="3518411" y="457568"/>
                </a:cubicBezTo>
                <a:cubicBezTo>
                  <a:pt x="3523145" y="457568"/>
                  <a:pt x="3528826" y="458045"/>
                  <a:pt x="3534507" y="458997"/>
                </a:cubicBezTo>
                <a:cubicBezTo>
                  <a:pt x="3540188" y="459473"/>
                  <a:pt x="3544449" y="460902"/>
                  <a:pt x="3548236" y="461854"/>
                </a:cubicBezTo>
                <a:cubicBezTo>
                  <a:pt x="3548236" y="461854"/>
                  <a:pt x="3548236" y="461854"/>
                  <a:pt x="3548236" y="419471"/>
                </a:cubicBezTo>
                <a:cubicBezTo>
                  <a:pt x="3545396" y="418042"/>
                  <a:pt x="3541608" y="417090"/>
                  <a:pt x="3536401" y="416614"/>
                </a:cubicBezTo>
                <a:cubicBezTo>
                  <a:pt x="3531666" y="416137"/>
                  <a:pt x="3527406" y="415661"/>
                  <a:pt x="3524091" y="415661"/>
                </a:cubicBezTo>
                <a:close/>
                <a:moveTo>
                  <a:pt x="2326486" y="415661"/>
                </a:moveTo>
                <a:cubicBezTo>
                  <a:pt x="2313740" y="415661"/>
                  <a:pt x="2301937" y="419471"/>
                  <a:pt x="2292023" y="427090"/>
                </a:cubicBezTo>
                <a:cubicBezTo>
                  <a:pt x="2281637" y="434710"/>
                  <a:pt x="2274083" y="445187"/>
                  <a:pt x="2268890" y="458045"/>
                </a:cubicBezTo>
                <a:cubicBezTo>
                  <a:pt x="2268890" y="458045"/>
                  <a:pt x="2268890" y="458045"/>
                  <a:pt x="2268890" y="418518"/>
                </a:cubicBezTo>
                <a:cubicBezTo>
                  <a:pt x="2268890" y="418518"/>
                  <a:pt x="2268890" y="418518"/>
                  <a:pt x="2226401" y="418518"/>
                </a:cubicBezTo>
                <a:cubicBezTo>
                  <a:pt x="2226401" y="418518"/>
                  <a:pt x="2226401" y="418518"/>
                  <a:pt x="2226401" y="608530"/>
                </a:cubicBezTo>
                <a:lnTo>
                  <a:pt x="2270778" y="608530"/>
                </a:lnTo>
                <a:cubicBezTo>
                  <a:pt x="2270778" y="608530"/>
                  <a:pt x="2270778" y="608530"/>
                  <a:pt x="2270778" y="519953"/>
                </a:cubicBezTo>
                <a:cubicBezTo>
                  <a:pt x="2270778" y="499476"/>
                  <a:pt x="2275027" y="484237"/>
                  <a:pt x="2283525" y="473284"/>
                </a:cubicBezTo>
                <a:cubicBezTo>
                  <a:pt x="2292023" y="462807"/>
                  <a:pt x="2304770" y="457568"/>
                  <a:pt x="2320821" y="457568"/>
                </a:cubicBezTo>
                <a:cubicBezTo>
                  <a:pt x="2325542" y="457568"/>
                  <a:pt x="2330735" y="458045"/>
                  <a:pt x="2336400" y="458997"/>
                </a:cubicBezTo>
                <a:cubicBezTo>
                  <a:pt x="2342066" y="459473"/>
                  <a:pt x="2346787" y="460902"/>
                  <a:pt x="2350563" y="461854"/>
                </a:cubicBezTo>
                <a:cubicBezTo>
                  <a:pt x="2350563" y="461854"/>
                  <a:pt x="2350563" y="461854"/>
                  <a:pt x="2350563" y="419471"/>
                </a:cubicBezTo>
                <a:cubicBezTo>
                  <a:pt x="2347731" y="418042"/>
                  <a:pt x="2343482" y="417090"/>
                  <a:pt x="2338761" y="416614"/>
                </a:cubicBezTo>
                <a:cubicBezTo>
                  <a:pt x="2334040" y="416137"/>
                  <a:pt x="2329791" y="415661"/>
                  <a:pt x="2326486" y="415661"/>
                </a:cubicBezTo>
                <a:close/>
                <a:moveTo>
                  <a:pt x="3296720" y="412871"/>
                </a:moveTo>
                <a:cubicBezTo>
                  <a:pt x="3278281" y="412871"/>
                  <a:pt x="3261732" y="417150"/>
                  <a:pt x="3247547" y="425708"/>
                </a:cubicBezTo>
                <a:cubicBezTo>
                  <a:pt x="3232890" y="434266"/>
                  <a:pt x="3221543" y="446152"/>
                  <a:pt x="3213505" y="461366"/>
                </a:cubicBezTo>
                <a:cubicBezTo>
                  <a:pt x="3205467" y="476581"/>
                  <a:pt x="3201211" y="494172"/>
                  <a:pt x="3201211" y="514141"/>
                </a:cubicBezTo>
                <a:cubicBezTo>
                  <a:pt x="3201211" y="536011"/>
                  <a:pt x="3205940" y="554078"/>
                  <a:pt x="3214923" y="568817"/>
                </a:cubicBezTo>
                <a:cubicBezTo>
                  <a:pt x="3224379" y="584031"/>
                  <a:pt x="3236672" y="595441"/>
                  <a:pt x="3252748" y="603049"/>
                </a:cubicBezTo>
                <a:cubicBezTo>
                  <a:pt x="3268351" y="610656"/>
                  <a:pt x="3286791" y="614459"/>
                  <a:pt x="3307122" y="614459"/>
                </a:cubicBezTo>
                <a:cubicBezTo>
                  <a:pt x="3319888" y="614459"/>
                  <a:pt x="3332654" y="612557"/>
                  <a:pt x="3344948" y="608278"/>
                </a:cubicBezTo>
                <a:cubicBezTo>
                  <a:pt x="3357714" y="604475"/>
                  <a:pt x="3368588" y="598769"/>
                  <a:pt x="3378518" y="592113"/>
                </a:cubicBezTo>
                <a:cubicBezTo>
                  <a:pt x="3378518" y="553127"/>
                  <a:pt x="3378518" y="553127"/>
                  <a:pt x="3378518" y="553127"/>
                </a:cubicBezTo>
                <a:cubicBezTo>
                  <a:pt x="3358186" y="568341"/>
                  <a:pt x="3335491" y="575948"/>
                  <a:pt x="3311378" y="575948"/>
                </a:cubicBezTo>
                <a:cubicBezTo>
                  <a:pt x="3291992" y="575948"/>
                  <a:pt x="3276862" y="571669"/>
                  <a:pt x="3265514" y="562636"/>
                </a:cubicBezTo>
                <a:cubicBezTo>
                  <a:pt x="3254167" y="553602"/>
                  <a:pt x="3247074" y="541241"/>
                  <a:pt x="3244238" y="525551"/>
                </a:cubicBezTo>
                <a:cubicBezTo>
                  <a:pt x="3383246" y="525551"/>
                  <a:pt x="3383246" y="525551"/>
                  <a:pt x="3383246" y="525551"/>
                </a:cubicBezTo>
                <a:cubicBezTo>
                  <a:pt x="3383719" y="520321"/>
                  <a:pt x="3383719" y="516993"/>
                  <a:pt x="3384192" y="514141"/>
                </a:cubicBezTo>
                <a:cubicBezTo>
                  <a:pt x="3384192" y="511763"/>
                  <a:pt x="3384664" y="508911"/>
                  <a:pt x="3384664" y="506533"/>
                </a:cubicBezTo>
                <a:cubicBezTo>
                  <a:pt x="3384664" y="487516"/>
                  <a:pt x="3380882" y="471351"/>
                  <a:pt x="3373790" y="457087"/>
                </a:cubicBezTo>
                <a:cubicBezTo>
                  <a:pt x="3366697" y="443300"/>
                  <a:pt x="3356295" y="432364"/>
                  <a:pt x="3343056" y="424282"/>
                </a:cubicBezTo>
                <a:cubicBezTo>
                  <a:pt x="3329818" y="416675"/>
                  <a:pt x="3314687" y="412871"/>
                  <a:pt x="3296720" y="412871"/>
                </a:cubicBezTo>
                <a:close/>
                <a:moveTo>
                  <a:pt x="2933385" y="412871"/>
                </a:moveTo>
                <a:cubicBezTo>
                  <a:pt x="2919695" y="412871"/>
                  <a:pt x="2907892" y="415727"/>
                  <a:pt x="2897034" y="422392"/>
                </a:cubicBezTo>
                <a:cubicBezTo>
                  <a:pt x="2886648" y="428581"/>
                  <a:pt x="2878623" y="437626"/>
                  <a:pt x="2873430" y="449051"/>
                </a:cubicBezTo>
                <a:cubicBezTo>
                  <a:pt x="2873430" y="449051"/>
                  <a:pt x="2873430" y="449051"/>
                  <a:pt x="2872957" y="418584"/>
                </a:cubicBezTo>
                <a:cubicBezTo>
                  <a:pt x="2872957" y="418584"/>
                  <a:pt x="2872957" y="418584"/>
                  <a:pt x="2830469" y="418584"/>
                </a:cubicBezTo>
                <a:cubicBezTo>
                  <a:pt x="2830469" y="418584"/>
                  <a:pt x="2830469" y="418584"/>
                  <a:pt x="2830469" y="608530"/>
                </a:cubicBezTo>
                <a:lnTo>
                  <a:pt x="2874846" y="608530"/>
                </a:lnTo>
                <a:cubicBezTo>
                  <a:pt x="2874846" y="608530"/>
                  <a:pt x="2874846" y="608530"/>
                  <a:pt x="2874846" y="505702"/>
                </a:cubicBezTo>
                <a:cubicBezTo>
                  <a:pt x="2874846" y="488564"/>
                  <a:pt x="2878623" y="475710"/>
                  <a:pt x="2886648" y="466189"/>
                </a:cubicBezTo>
                <a:cubicBezTo>
                  <a:pt x="2894674" y="457144"/>
                  <a:pt x="2905532" y="452384"/>
                  <a:pt x="2919695" y="452384"/>
                </a:cubicBezTo>
                <a:cubicBezTo>
                  <a:pt x="2944715" y="452384"/>
                  <a:pt x="2957462" y="469046"/>
                  <a:pt x="2957462" y="501894"/>
                </a:cubicBezTo>
                <a:cubicBezTo>
                  <a:pt x="2957462" y="501894"/>
                  <a:pt x="2957462" y="501894"/>
                  <a:pt x="2957462" y="608530"/>
                </a:cubicBezTo>
                <a:cubicBezTo>
                  <a:pt x="2957462" y="608530"/>
                  <a:pt x="2957462" y="608530"/>
                  <a:pt x="3001366" y="608530"/>
                </a:cubicBezTo>
                <a:cubicBezTo>
                  <a:pt x="3001366" y="608530"/>
                  <a:pt x="3001366" y="608530"/>
                  <a:pt x="3001366" y="493801"/>
                </a:cubicBezTo>
                <a:cubicBezTo>
                  <a:pt x="3001366" y="467618"/>
                  <a:pt x="2995701" y="447623"/>
                  <a:pt x="2983899" y="433818"/>
                </a:cubicBezTo>
                <a:cubicBezTo>
                  <a:pt x="2972097" y="419536"/>
                  <a:pt x="2955101" y="412871"/>
                  <a:pt x="2933385" y="412871"/>
                </a:cubicBezTo>
                <a:close/>
                <a:moveTo>
                  <a:pt x="2703114" y="412871"/>
                </a:moveTo>
                <a:cubicBezTo>
                  <a:pt x="2684674" y="412871"/>
                  <a:pt x="2668126" y="417150"/>
                  <a:pt x="2653941" y="425708"/>
                </a:cubicBezTo>
                <a:cubicBezTo>
                  <a:pt x="2639284" y="434266"/>
                  <a:pt x="2627936" y="446152"/>
                  <a:pt x="2619899" y="461366"/>
                </a:cubicBezTo>
                <a:cubicBezTo>
                  <a:pt x="2611861" y="476581"/>
                  <a:pt x="2607605" y="494172"/>
                  <a:pt x="2607605" y="514141"/>
                </a:cubicBezTo>
                <a:cubicBezTo>
                  <a:pt x="2607605" y="536011"/>
                  <a:pt x="2612334" y="554078"/>
                  <a:pt x="2621317" y="568817"/>
                </a:cubicBezTo>
                <a:cubicBezTo>
                  <a:pt x="2630773" y="584031"/>
                  <a:pt x="2643067" y="595441"/>
                  <a:pt x="2659142" y="603049"/>
                </a:cubicBezTo>
                <a:cubicBezTo>
                  <a:pt x="2674745" y="610656"/>
                  <a:pt x="2693185" y="614459"/>
                  <a:pt x="2713516" y="614459"/>
                </a:cubicBezTo>
                <a:cubicBezTo>
                  <a:pt x="2726282" y="614459"/>
                  <a:pt x="2739048" y="612557"/>
                  <a:pt x="2751342" y="608278"/>
                </a:cubicBezTo>
                <a:cubicBezTo>
                  <a:pt x="2764108" y="604475"/>
                  <a:pt x="2774983" y="598769"/>
                  <a:pt x="2784912" y="592113"/>
                </a:cubicBezTo>
                <a:cubicBezTo>
                  <a:pt x="2784912" y="553127"/>
                  <a:pt x="2784912" y="553127"/>
                  <a:pt x="2784912" y="553127"/>
                </a:cubicBezTo>
                <a:cubicBezTo>
                  <a:pt x="2764581" y="568341"/>
                  <a:pt x="2741885" y="575948"/>
                  <a:pt x="2717771" y="575948"/>
                </a:cubicBezTo>
                <a:cubicBezTo>
                  <a:pt x="2698386" y="575948"/>
                  <a:pt x="2683256" y="571669"/>
                  <a:pt x="2671908" y="562636"/>
                </a:cubicBezTo>
                <a:cubicBezTo>
                  <a:pt x="2660561" y="553602"/>
                  <a:pt x="2653469" y="541241"/>
                  <a:pt x="2650632" y="525551"/>
                </a:cubicBezTo>
                <a:cubicBezTo>
                  <a:pt x="2789640" y="525551"/>
                  <a:pt x="2789640" y="525551"/>
                  <a:pt x="2789640" y="525551"/>
                </a:cubicBezTo>
                <a:cubicBezTo>
                  <a:pt x="2790113" y="520321"/>
                  <a:pt x="2790113" y="516993"/>
                  <a:pt x="2790586" y="514141"/>
                </a:cubicBezTo>
                <a:cubicBezTo>
                  <a:pt x="2790586" y="511763"/>
                  <a:pt x="2791058" y="508911"/>
                  <a:pt x="2791058" y="506533"/>
                </a:cubicBezTo>
                <a:cubicBezTo>
                  <a:pt x="2791058" y="487516"/>
                  <a:pt x="2787276" y="471351"/>
                  <a:pt x="2780184" y="457087"/>
                </a:cubicBezTo>
                <a:cubicBezTo>
                  <a:pt x="2773091" y="443300"/>
                  <a:pt x="2762689" y="432364"/>
                  <a:pt x="2749450" y="424282"/>
                </a:cubicBezTo>
                <a:cubicBezTo>
                  <a:pt x="2736211" y="416675"/>
                  <a:pt x="2721081" y="412871"/>
                  <a:pt x="2703114" y="412871"/>
                </a:cubicBezTo>
                <a:close/>
                <a:moveTo>
                  <a:pt x="2491416" y="412871"/>
                </a:moveTo>
                <a:cubicBezTo>
                  <a:pt x="2476286" y="412871"/>
                  <a:pt x="2463048" y="416199"/>
                  <a:pt x="2451701" y="422381"/>
                </a:cubicBezTo>
                <a:cubicBezTo>
                  <a:pt x="2440353" y="429037"/>
                  <a:pt x="2430898" y="438547"/>
                  <a:pt x="2423806" y="450910"/>
                </a:cubicBezTo>
                <a:cubicBezTo>
                  <a:pt x="2423806" y="418577"/>
                  <a:pt x="2423806" y="418577"/>
                  <a:pt x="2423806" y="418577"/>
                </a:cubicBezTo>
                <a:cubicBezTo>
                  <a:pt x="2381254" y="418577"/>
                  <a:pt x="2381254" y="418577"/>
                  <a:pt x="2381254" y="418577"/>
                </a:cubicBezTo>
                <a:cubicBezTo>
                  <a:pt x="2381254" y="677238"/>
                  <a:pt x="2381254" y="677238"/>
                  <a:pt x="2381254" y="677238"/>
                </a:cubicBezTo>
                <a:cubicBezTo>
                  <a:pt x="2425697" y="677238"/>
                  <a:pt x="2425697" y="677238"/>
                  <a:pt x="2425697" y="677238"/>
                </a:cubicBezTo>
                <a:cubicBezTo>
                  <a:pt x="2425697" y="579765"/>
                  <a:pt x="2425697" y="579765"/>
                  <a:pt x="2425697" y="579765"/>
                </a:cubicBezTo>
                <a:cubicBezTo>
                  <a:pt x="2432316" y="591176"/>
                  <a:pt x="2440827" y="599735"/>
                  <a:pt x="2451701" y="605441"/>
                </a:cubicBezTo>
                <a:cubicBezTo>
                  <a:pt x="2462575" y="611622"/>
                  <a:pt x="2474868" y="614475"/>
                  <a:pt x="2488106" y="614475"/>
                </a:cubicBezTo>
                <a:cubicBezTo>
                  <a:pt x="2500871" y="614475"/>
                  <a:pt x="2512691" y="611622"/>
                  <a:pt x="2523566" y="606867"/>
                </a:cubicBezTo>
                <a:cubicBezTo>
                  <a:pt x="2534440" y="601637"/>
                  <a:pt x="2544369" y="594505"/>
                  <a:pt x="2552879" y="584995"/>
                </a:cubicBezTo>
                <a:cubicBezTo>
                  <a:pt x="2560916" y="575961"/>
                  <a:pt x="2567535" y="565025"/>
                  <a:pt x="2572263" y="553138"/>
                </a:cubicBezTo>
                <a:cubicBezTo>
                  <a:pt x="2576991" y="540775"/>
                  <a:pt x="2579355" y="527462"/>
                  <a:pt x="2579355" y="513197"/>
                </a:cubicBezTo>
                <a:cubicBezTo>
                  <a:pt x="2579355" y="493703"/>
                  <a:pt x="2575573" y="476110"/>
                  <a:pt x="2568008" y="461370"/>
                </a:cubicBezTo>
                <a:cubicBezTo>
                  <a:pt x="2560444" y="446155"/>
                  <a:pt x="2550042" y="434268"/>
                  <a:pt x="2536804" y="425709"/>
                </a:cubicBezTo>
                <a:cubicBezTo>
                  <a:pt x="2523566" y="417150"/>
                  <a:pt x="2508436" y="412871"/>
                  <a:pt x="2491416" y="412871"/>
                </a:cubicBezTo>
                <a:close/>
                <a:moveTo>
                  <a:pt x="2092586" y="412871"/>
                </a:moveTo>
                <a:cubicBezTo>
                  <a:pt x="2079808" y="412871"/>
                  <a:pt x="2067976" y="414297"/>
                  <a:pt x="2056618" y="418101"/>
                </a:cubicBezTo>
                <a:cubicBezTo>
                  <a:pt x="2045260" y="421429"/>
                  <a:pt x="2035322" y="425708"/>
                  <a:pt x="2026330" y="430938"/>
                </a:cubicBezTo>
                <a:cubicBezTo>
                  <a:pt x="2026330" y="469924"/>
                  <a:pt x="2026330" y="469924"/>
                  <a:pt x="2026330" y="469924"/>
                </a:cubicBezTo>
                <a:cubicBezTo>
                  <a:pt x="2035795" y="463744"/>
                  <a:pt x="2045733" y="458989"/>
                  <a:pt x="2056618" y="455661"/>
                </a:cubicBezTo>
                <a:cubicBezTo>
                  <a:pt x="2067503" y="452333"/>
                  <a:pt x="2077915" y="450431"/>
                  <a:pt x="2088326" y="450431"/>
                </a:cubicBezTo>
                <a:cubicBezTo>
                  <a:pt x="2105364" y="450431"/>
                  <a:pt x="2118615" y="454710"/>
                  <a:pt x="2127134" y="463268"/>
                </a:cubicBezTo>
                <a:cubicBezTo>
                  <a:pt x="2135179" y="471351"/>
                  <a:pt x="2139438" y="483712"/>
                  <a:pt x="2139438" y="499402"/>
                </a:cubicBezTo>
                <a:cubicBezTo>
                  <a:pt x="2139438" y="500353"/>
                  <a:pt x="2139438" y="500353"/>
                  <a:pt x="2139438" y="500353"/>
                </a:cubicBezTo>
                <a:cubicBezTo>
                  <a:pt x="2124294" y="493696"/>
                  <a:pt x="2107730" y="490844"/>
                  <a:pt x="2089746" y="490844"/>
                </a:cubicBezTo>
                <a:cubicBezTo>
                  <a:pt x="2074129" y="490844"/>
                  <a:pt x="2060878" y="493221"/>
                  <a:pt x="2049046" y="498926"/>
                </a:cubicBezTo>
                <a:cubicBezTo>
                  <a:pt x="2037688" y="504156"/>
                  <a:pt x="2028696" y="511763"/>
                  <a:pt x="2022070" y="521272"/>
                </a:cubicBezTo>
                <a:cubicBezTo>
                  <a:pt x="2015918" y="530781"/>
                  <a:pt x="2012605" y="541716"/>
                  <a:pt x="2012605" y="555029"/>
                </a:cubicBezTo>
                <a:cubicBezTo>
                  <a:pt x="2012605" y="572620"/>
                  <a:pt x="2018758" y="587359"/>
                  <a:pt x="2030589" y="598294"/>
                </a:cubicBezTo>
                <a:cubicBezTo>
                  <a:pt x="2042420" y="608754"/>
                  <a:pt x="2058511" y="614459"/>
                  <a:pt x="2077915" y="614459"/>
                </a:cubicBezTo>
                <a:cubicBezTo>
                  <a:pt x="2092113" y="614459"/>
                  <a:pt x="2104417" y="611607"/>
                  <a:pt x="2115776" y="605426"/>
                </a:cubicBezTo>
                <a:cubicBezTo>
                  <a:pt x="2127134" y="599245"/>
                  <a:pt x="2135652" y="591162"/>
                  <a:pt x="2140858" y="580703"/>
                </a:cubicBezTo>
                <a:cubicBezTo>
                  <a:pt x="2141331" y="608278"/>
                  <a:pt x="2141331" y="608278"/>
                  <a:pt x="2141331" y="608278"/>
                </a:cubicBezTo>
                <a:cubicBezTo>
                  <a:pt x="2179665" y="608278"/>
                  <a:pt x="2179665" y="608278"/>
                  <a:pt x="2179665" y="608278"/>
                </a:cubicBezTo>
                <a:cubicBezTo>
                  <a:pt x="2179665" y="496549"/>
                  <a:pt x="2179665" y="496549"/>
                  <a:pt x="2179665" y="496549"/>
                </a:cubicBezTo>
                <a:cubicBezTo>
                  <a:pt x="2179665" y="469449"/>
                  <a:pt x="2172093" y="449005"/>
                  <a:pt x="2157422" y="434266"/>
                </a:cubicBezTo>
                <a:cubicBezTo>
                  <a:pt x="2142278" y="420003"/>
                  <a:pt x="2120508" y="412871"/>
                  <a:pt x="2092586" y="412871"/>
                </a:cubicBezTo>
                <a:close/>
                <a:moveTo>
                  <a:pt x="3067069" y="371367"/>
                </a:moveTo>
                <a:cubicBezTo>
                  <a:pt x="3067069" y="371367"/>
                  <a:pt x="3067069" y="371367"/>
                  <a:pt x="3067069" y="421793"/>
                </a:cubicBezTo>
                <a:cubicBezTo>
                  <a:pt x="3067069" y="421793"/>
                  <a:pt x="3067069" y="421793"/>
                  <a:pt x="3027872" y="421793"/>
                </a:cubicBezTo>
                <a:cubicBezTo>
                  <a:pt x="3027872" y="421793"/>
                  <a:pt x="3027872" y="421793"/>
                  <a:pt x="3027872" y="458899"/>
                </a:cubicBezTo>
                <a:cubicBezTo>
                  <a:pt x="3027872" y="458899"/>
                  <a:pt x="3027872" y="458899"/>
                  <a:pt x="3067069" y="458899"/>
                </a:cubicBezTo>
                <a:cubicBezTo>
                  <a:pt x="3067069" y="458899"/>
                  <a:pt x="3067069" y="458899"/>
                  <a:pt x="3067069" y="538820"/>
                </a:cubicBezTo>
                <a:cubicBezTo>
                  <a:pt x="3067069" y="563082"/>
                  <a:pt x="3072263" y="582110"/>
                  <a:pt x="3083125" y="594955"/>
                </a:cubicBezTo>
                <a:cubicBezTo>
                  <a:pt x="3093514" y="607799"/>
                  <a:pt x="3110043" y="614459"/>
                  <a:pt x="3132238" y="614459"/>
                </a:cubicBezTo>
                <a:cubicBezTo>
                  <a:pt x="3140739" y="614459"/>
                  <a:pt x="3149239" y="613508"/>
                  <a:pt x="3157268" y="611605"/>
                </a:cubicBezTo>
                <a:cubicBezTo>
                  <a:pt x="3165296" y="609702"/>
                  <a:pt x="3172852" y="606848"/>
                  <a:pt x="3179935" y="603518"/>
                </a:cubicBezTo>
                <a:cubicBezTo>
                  <a:pt x="3179935" y="603518"/>
                  <a:pt x="3179935" y="603518"/>
                  <a:pt x="3179935" y="563082"/>
                </a:cubicBezTo>
                <a:cubicBezTo>
                  <a:pt x="3174741" y="565936"/>
                  <a:pt x="3168601" y="568790"/>
                  <a:pt x="3161518" y="571169"/>
                </a:cubicBezTo>
                <a:cubicBezTo>
                  <a:pt x="3153962" y="573547"/>
                  <a:pt x="3147350" y="574499"/>
                  <a:pt x="3140267" y="574499"/>
                </a:cubicBezTo>
                <a:cubicBezTo>
                  <a:pt x="3130350" y="574499"/>
                  <a:pt x="3122794" y="571644"/>
                  <a:pt x="3118071" y="564984"/>
                </a:cubicBezTo>
                <a:cubicBezTo>
                  <a:pt x="3113349" y="558800"/>
                  <a:pt x="3110988" y="548810"/>
                  <a:pt x="3110988" y="535014"/>
                </a:cubicBezTo>
                <a:cubicBezTo>
                  <a:pt x="3110988" y="535014"/>
                  <a:pt x="3110988" y="535014"/>
                  <a:pt x="3110988" y="458899"/>
                </a:cubicBezTo>
                <a:cubicBezTo>
                  <a:pt x="3110988" y="458899"/>
                  <a:pt x="3110988" y="458899"/>
                  <a:pt x="3172379" y="458899"/>
                </a:cubicBezTo>
                <a:cubicBezTo>
                  <a:pt x="3172379" y="458899"/>
                  <a:pt x="3172379" y="458899"/>
                  <a:pt x="3172379" y="421793"/>
                </a:cubicBezTo>
                <a:cubicBezTo>
                  <a:pt x="3172379" y="421793"/>
                  <a:pt x="3172379" y="421793"/>
                  <a:pt x="3110988" y="421793"/>
                </a:cubicBezTo>
                <a:cubicBezTo>
                  <a:pt x="3110988" y="421793"/>
                  <a:pt x="3110988" y="421793"/>
                  <a:pt x="3110988" y="371367"/>
                </a:cubicBezTo>
                <a:cubicBezTo>
                  <a:pt x="3110988" y="371367"/>
                  <a:pt x="3110988" y="371367"/>
                  <a:pt x="3067069" y="371367"/>
                </a:cubicBezTo>
                <a:close/>
                <a:moveTo>
                  <a:pt x="1901415" y="352534"/>
                </a:moveTo>
                <a:cubicBezTo>
                  <a:pt x="1881566" y="352534"/>
                  <a:pt x="1863607" y="355862"/>
                  <a:pt x="1847066" y="362041"/>
                </a:cubicBezTo>
                <a:cubicBezTo>
                  <a:pt x="1830524" y="368696"/>
                  <a:pt x="1816347" y="377253"/>
                  <a:pt x="1804531" y="389137"/>
                </a:cubicBezTo>
                <a:cubicBezTo>
                  <a:pt x="1792716" y="400546"/>
                  <a:pt x="1783264" y="414331"/>
                  <a:pt x="1776648" y="430494"/>
                </a:cubicBezTo>
                <a:cubicBezTo>
                  <a:pt x="1770031" y="446656"/>
                  <a:pt x="1766723" y="464244"/>
                  <a:pt x="1766723" y="483259"/>
                </a:cubicBezTo>
                <a:cubicBezTo>
                  <a:pt x="1766723" y="509879"/>
                  <a:pt x="1772394" y="533172"/>
                  <a:pt x="1783264" y="552662"/>
                </a:cubicBezTo>
                <a:cubicBezTo>
                  <a:pt x="1794607" y="572152"/>
                  <a:pt x="1809730" y="587363"/>
                  <a:pt x="1829579" y="598297"/>
                </a:cubicBezTo>
                <a:cubicBezTo>
                  <a:pt x="1849429" y="609230"/>
                  <a:pt x="1872586" y="614459"/>
                  <a:pt x="1898579" y="614459"/>
                </a:cubicBezTo>
                <a:cubicBezTo>
                  <a:pt x="1913230" y="614459"/>
                  <a:pt x="1926935" y="612558"/>
                  <a:pt x="1940168" y="609706"/>
                </a:cubicBezTo>
                <a:cubicBezTo>
                  <a:pt x="1953401" y="606378"/>
                  <a:pt x="1965689" y="601624"/>
                  <a:pt x="1977031" y="596395"/>
                </a:cubicBezTo>
                <a:cubicBezTo>
                  <a:pt x="1977031" y="596395"/>
                  <a:pt x="1977031" y="596395"/>
                  <a:pt x="1977031" y="554088"/>
                </a:cubicBezTo>
                <a:cubicBezTo>
                  <a:pt x="1965689" y="559317"/>
                  <a:pt x="1952929" y="563595"/>
                  <a:pt x="1939696" y="567398"/>
                </a:cubicBezTo>
                <a:cubicBezTo>
                  <a:pt x="1926463" y="570726"/>
                  <a:pt x="1913703" y="572152"/>
                  <a:pt x="1902360" y="572152"/>
                </a:cubicBezTo>
                <a:cubicBezTo>
                  <a:pt x="1884401" y="572152"/>
                  <a:pt x="1868805" y="568824"/>
                  <a:pt x="1855573" y="561694"/>
                </a:cubicBezTo>
                <a:cubicBezTo>
                  <a:pt x="1842340" y="554563"/>
                  <a:pt x="1832415" y="544105"/>
                  <a:pt x="1824853" y="530795"/>
                </a:cubicBezTo>
                <a:cubicBezTo>
                  <a:pt x="1817764" y="517485"/>
                  <a:pt x="1814456" y="501798"/>
                  <a:pt x="1814456" y="483259"/>
                </a:cubicBezTo>
                <a:cubicBezTo>
                  <a:pt x="1814456" y="465195"/>
                  <a:pt x="1817764" y="449983"/>
                  <a:pt x="1825326" y="436673"/>
                </a:cubicBezTo>
                <a:cubicBezTo>
                  <a:pt x="1832415" y="423363"/>
                  <a:pt x="1842812" y="412905"/>
                  <a:pt x="1856045" y="405775"/>
                </a:cubicBezTo>
                <a:cubicBezTo>
                  <a:pt x="1868805" y="398169"/>
                  <a:pt x="1884401" y="394841"/>
                  <a:pt x="1901415" y="394841"/>
                </a:cubicBezTo>
                <a:cubicBezTo>
                  <a:pt x="1912757" y="394841"/>
                  <a:pt x="1925045" y="396268"/>
                  <a:pt x="1937805" y="399595"/>
                </a:cubicBezTo>
                <a:cubicBezTo>
                  <a:pt x="1950565" y="403398"/>
                  <a:pt x="1963798" y="408152"/>
                  <a:pt x="1977031" y="415282"/>
                </a:cubicBezTo>
                <a:cubicBezTo>
                  <a:pt x="1977031" y="415282"/>
                  <a:pt x="1977031" y="415282"/>
                  <a:pt x="1977031" y="371549"/>
                </a:cubicBezTo>
                <a:cubicBezTo>
                  <a:pt x="1966634" y="365844"/>
                  <a:pt x="1955292" y="361091"/>
                  <a:pt x="1942059" y="357763"/>
                </a:cubicBezTo>
                <a:cubicBezTo>
                  <a:pt x="1928353" y="354436"/>
                  <a:pt x="1915120" y="352534"/>
                  <a:pt x="1901415" y="352534"/>
                </a:cubicBezTo>
                <a:close/>
                <a:moveTo>
                  <a:pt x="1201412" y="352534"/>
                </a:moveTo>
                <a:cubicBezTo>
                  <a:pt x="1173995" y="352534"/>
                  <a:pt x="1149886" y="358238"/>
                  <a:pt x="1129087" y="369172"/>
                </a:cubicBezTo>
                <a:cubicBezTo>
                  <a:pt x="1108288" y="380105"/>
                  <a:pt x="1091743" y="395792"/>
                  <a:pt x="1080398" y="415282"/>
                </a:cubicBezTo>
                <a:cubicBezTo>
                  <a:pt x="1068580" y="435247"/>
                  <a:pt x="1062907" y="458065"/>
                  <a:pt x="1062907" y="484210"/>
                </a:cubicBezTo>
                <a:cubicBezTo>
                  <a:pt x="1062907" y="510830"/>
                  <a:pt x="1068580" y="533647"/>
                  <a:pt x="1079452" y="553137"/>
                </a:cubicBezTo>
                <a:cubicBezTo>
                  <a:pt x="1090797" y="572627"/>
                  <a:pt x="1106397" y="587839"/>
                  <a:pt x="1126723" y="598297"/>
                </a:cubicBezTo>
                <a:cubicBezTo>
                  <a:pt x="1147050" y="609230"/>
                  <a:pt x="1170686" y="614459"/>
                  <a:pt x="1197630" y="614459"/>
                </a:cubicBezTo>
                <a:cubicBezTo>
                  <a:pt x="1231193" y="614459"/>
                  <a:pt x="1262865" y="608279"/>
                  <a:pt x="1291700" y="595920"/>
                </a:cubicBezTo>
                <a:cubicBezTo>
                  <a:pt x="1291700" y="595920"/>
                  <a:pt x="1291700" y="595920"/>
                  <a:pt x="1291700" y="470899"/>
                </a:cubicBezTo>
                <a:cubicBezTo>
                  <a:pt x="1291700" y="470899"/>
                  <a:pt x="1291700" y="470899"/>
                  <a:pt x="1198103" y="470899"/>
                </a:cubicBezTo>
                <a:cubicBezTo>
                  <a:pt x="1198103" y="470899"/>
                  <a:pt x="1198103" y="470899"/>
                  <a:pt x="1198103" y="510830"/>
                </a:cubicBezTo>
                <a:cubicBezTo>
                  <a:pt x="1198103" y="510830"/>
                  <a:pt x="1198103" y="510830"/>
                  <a:pt x="1249629" y="510830"/>
                </a:cubicBezTo>
                <a:cubicBezTo>
                  <a:pt x="1249629" y="510830"/>
                  <a:pt x="1249629" y="510830"/>
                  <a:pt x="1249629" y="565497"/>
                </a:cubicBezTo>
                <a:cubicBezTo>
                  <a:pt x="1233557" y="570250"/>
                  <a:pt x="1217012" y="572627"/>
                  <a:pt x="1199994" y="572627"/>
                </a:cubicBezTo>
                <a:cubicBezTo>
                  <a:pt x="1181558" y="572627"/>
                  <a:pt x="1165486" y="569300"/>
                  <a:pt x="1151777" y="562169"/>
                </a:cubicBezTo>
                <a:cubicBezTo>
                  <a:pt x="1138069" y="555039"/>
                  <a:pt x="1127669" y="544581"/>
                  <a:pt x="1120578" y="531271"/>
                </a:cubicBezTo>
                <a:cubicBezTo>
                  <a:pt x="1113015" y="517960"/>
                  <a:pt x="1109706" y="501798"/>
                  <a:pt x="1109706" y="483259"/>
                </a:cubicBezTo>
                <a:cubicBezTo>
                  <a:pt x="1109706" y="465670"/>
                  <a:pt x="1113488" y="449983"/>
                  <a:pt x="1121051" y="436673"/>
                </a:cubicBezTo>
                <a:cubicBezTo>
                  <a:pt x="1128614" y="423363"/>
                  <a:pt x="1139014" y="412905"/>
                  <a:pt x="1152250" y="405299"/>
                </a:cubicBezTo>
                <a:cubicBezTo>
                  <a:pt x="1165959" y="398169"/>
                  <a:pt x="1181558" y="394366"/>
                  <a:pt x="1199521" y="394366"/>
                </a:cubicBezTo>
                <a:cubicBezTo>
                  <a:pt x="1227884" y="394366"/>
                  <a:pt x="1254829" y="400546"/>
                  <a:pt x="1280828" y="412430"/>
                </a:cubicBezTo>
                <a:cubicBezTo>
                  <a:pt x="1280828" y="412430"/>
                  <a:pt x="1280828" y="412430"/>
                  <a:pt x="1280828" y="369647"/>
                </a:cubicBezTo>
                <a:cubicBezTo>
                  <a:pt x="1269010" y="364418"/>
                  <a:pt x="1256719" y="360615"/>
                  <a:pt x="1243956" y="357288"/>
                </a:cubicBezTo>
                <a:cubicBezTo>
                  <a:pt x="1231193" y="353960"/>
                  <a:pt x="1217012" y="352534"/>
                  <a:pt x="1201412" y="352534"/>
                </a:cubicBezTo>
                <a:close/>
                <a:moveTo>
                  <a:pt x="597009" y="345657"/>
                </a:moveTo>
                <a:cubicBezTo>
                  <a:pt x="497757" y="403249"/>
                  <a:pt x="497757" y="403249"/>
                  <a:pt x="497757" y="403249"/>
                </a:cubicBezTo>
                <a:cubicBezTo>
                  <a:pt x="490668" y="407057"/>
                  <a:pt x="484996" y="417052"/>
                  <a:pt x="484996" y="425143"/>
                </a:cubicBezTo>
                <a:cubicBezTo>
                  <a:pt x="484996" y="540803"/>
                  <a:pt x="484996" y="540803"/>
                  <a:pt x="484996" y="540803"/>
                </a:cubicBezTo>
                <a:cubicBezTo>
                  <a:pt x="484996" y="548894"/>
                  <a:pt x="490668" y="558890"/>
                  <a:pt x="497757" y="562697"/>
                </a:cubicBezTo>
                <a:cubicBezTo>
                  <a:pt x="597009" y="620289"/>
                  <a:pt x="597009" y="620289"/>
                  <a:pt x="597009" y="620289"/>
                </a:cubicBezTo>
                <a:cubicBezTo>
                  <a:pt x="604098" y="624573"/>
                  <a:pt x="615441" y="624573"/>
                  <a:pt x="622531" y="620289"/>
                </a:cubicBezTo>
                <a:cubicBezTo>
                  <a:pt x="896655" y="461317"/>
                  <a:pt x="896655" y="461317"/>
                  <a:pt x="896655" y="461317"/>
                </a:cubicBezTo>
                <a:cubicBezTo>
                  <a:pt x="744942" y="578404"/>
                  <a:pt x="744942" y="578404"/>
                  <a:pt x="744942" y="578404"/>
                </a:cubicBezTo>
                <a:cubicBezTo>
                  <a:pt x="817254" y="620289"/>
                  <a:pt x="817254" y="620289"/>
                  <a:pt x="817254" y="620289"/>
                </a:cubicBezTo>
                <a:cubicBezTo>
                  <a:pt x="824343" y="624573"/>
                  <a:pt x="835686" y="624573"/>
                  <a:pt x="842775" y="620289"/>
                </a:cubicBezTo>
                <a:cubicBezTo>
                  <a:pt x="942027" y="562697"/>
                  <a:pt x="942027" y="562697"/>
                  <a:pt x="942027" y="562697"/>
                </a:cubicBezTo>
                <a:cubicBezTo>
                  <a:pt x="949117" y="558890"/>
                  <a:pt x="954788" y="548894"/>
                  <a:pt x="954788" y="540803"/>
                </a:cubicBezTo>
                <a:cubicBezTo>
                  <a:pt x="954788" y="425619"/>
                  <a:pt x="954788" y="425619"/>
                  <a:pt x="954788" y="425619"/>
                </a:cubicBezTo>
                <a:cubicBezTo>
                  <a:pt x="954788" y="417052"/>
                  <a:pt x="949117" y="407057"/>
                  <a:pt x="942027" y="403249"/>
                </a:cubicBezTo>
                <a:cubicBezTo>
                  <a:pt x="842775" y="345657"/>
                  <a:pt x="842775" y="345657"/>
                  <a:pt x="842775" y="345657"/>
                </a:cubicBezTo>
                <a:cubicBezTo>
                  <a:pt x="835686" y="341373"/>
                  <a:pt x="824343" y="341373"/>
                  <a:pt x="817254" y="345657"/>
                </a:cubicBezTo>
                <a:cubicBezTo>
                  <a:pt x="543129" y="504630"/>
                  <a:pt x="543129" y="504630"/>
                  <a:pt x="543129" y="504630"/>
                </a:cubicBezTo>
                <a:cubicBezTo>
                  <a:pt x="694843" y="387542"/>
                  <a:pt x="694843" y="387542"/>
                  <a:pt x="694843" y="387542"/>
                </a:cubicBezTo>
                <a:cubicBezTo>
                  <a:pt x="622531" y="345657"/>
                  <a:pt x="622531" y="345657"/>
                  <a:pt x="622531" y="345657"/>
                </a:cubicBezTo>
                <a:cubicBezTo>
                  <a:pt x="615441" y="341373"/>
                  <a:pt x="604098" y="341373"/>
                  <a:pt x="597009" y="345657"/>
                </a:cubicBezTo>
                <a:close/>
                <a:moveTo>
                  <a:pt x="0" y="0"/>
                </a:moveTo>
                <a:lnTo>
                  <a:pt x="12191998" y="0"/>
                </a:lnTo>
                <a:lnTo>
                  <a:pt x="12191998" y="6858000"/>
                </a:lnTo>
                <a:lnTo>
                  <a:pt x="0" y="6858000"/>
                </a:lnTo>
                <a:close/>
              </a:path>
            </a:pathLst>
          </a:custGeom>
          <a:solidFill>
            <a:srgbClr val="F0F0F0"/>
          </a:solidFill>
        </p:spPr>
        <p:txBody>
          <a:bodyPr wrap="square">
            <a:noAutofit/>
          </a:bodyPr>
          <a:lstStyle>
            <a:lvl1pPr marL="0" marR="0" indent="0" algn="l" defTabSz="457200" rtl="0" eaLnBrk="1" fontAlgn="auto" latinLnBrk="0" hangingPunct="1">
              <a:lnSpc>
                <a:spcPct val="100000"/>
              </a:lnSpc>
              <a:spcBef>
                <a:spcPts val="0"/>
              </a:spcBef>
              <a:spcAft>
                <a:spcPts val="0"/>
              </a:spcAft>
              <a:buClrTx/>
              <a:buSzTx/>
              <a:buFont typeface="Arial"/>
              <a:buNone/>
              <a:tabLst/>
              <a:defRPr sz="1200">
                <a:solidFill>
                  <a:srgbClr val="FF0000"/>
                </a:solidFill>
              </a:defRPr>
            </a:lvl1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dirty="0"/>
              <a:t>Bring picture placeholder to front. Click on picture icon to insert picture. Reset layout and send picture to back.</a:t>
            </a:r>
          </a:p>
        </p:txBody>
      </p:sp>
      <p:sp>
        <p:nvSpPr>
          <p:cNvPr id="10" name="Title 1"/>
          <p:cNvSpPr>
            <a:spLocks noGrp="1"/>
          </p:cNvSpPr>
          <p:nvPr>
            <p:ph type="ctrTitle" hasCustomPrompt="1"/>
          </p:nvPr>
        </p:nvSpPr>
        <p:spPr>
          <a:xfrm>
            <a:off x="448437" y="1764792"/>
            <a:ext cx="9365488" cy="1600200"/>
          </a:xfrm>
        </p:spPr>
        <p:txBody>
          <a:bodyPr vert="horz"/>
          <a:lstStyle>
            <a:lvl1pPr>
              <a:lnSpc>
                <a:spcPct val="90000"/>
              </a:lnSpc>
              <a:defRPr lang="en-US" sz="6000" b="1" i="0" kern="1200" cap="all" baseline="0" dirty="0">
                <a:solidFill>
                  <a:schemeClr val="bg1"/>
                </a:solidFill>
                <a:latin typeface="Arial Narrow" panose="020B0604020202020204" pitchFamily="34" charset="0"/>
                <a:ea typeface="+mj-ea"/>
                <a:cs typeface="Arial Narrow" panose="020B0604020202020204" pitchFamily="34" charset="0"/>
              </a:defRPr>
            </a:lvl1pPr>
          </a:lstStyle>
          <a:p>
            <a:r>
              <a:rPr lang="en-US" dirty="0" smtClean="0"/>
              <a:t>MAIN TITLE placeholder </a:t>
            </a:r>
            <a:r>
              <a:rPr lang="en-US" dirty="0"/>
              <a:t> </a:t>
            </a:r>
            <a:r>
              <a:rPr lang="en-US" dirty="0" smtClean="0"/>
              <a:t>- USE DARK PHOTO</a:t>
            </a:r>
            <a:endParaRPr lang="en-US" dirty="0"/>
          </a:p>
        </p:txBody>
      </p:sp>
      <p:sp>
        <p:nvSpPr>
          <p:cNvPr id="11" name="Subtitle 2"/>
          <p:cNvSpPr>
            <a:spLocks noGrp="1"/>
          </p:cNvSpPr>
          <p:nvPr>
            <p:ph type="subTitle" idx="1" hasCustomPrompt="1"/>
          </p:nvPr>
        </p:nvSpPr>
        <p:spPr>
          <a:xfrm>
            <a:off x="462026" y="3560887"/>
            <a:ext cx="9310624" cy="807913"/>
          </a:xfrm>
        </p:spPr>
        <p:txBody>
          <a:bodyPr anchor="t"/>
          <a:lstStyle>
            <a:lvl1pPr marL="0" indent="0" algn="l">
              <a:buNone/>
              <a:defRPr sz="24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 goes here</a:t>
            </a:r>
          </a:p>
        </p:txBody>
      </p:sp>
      <p:sp>
        <p:nvSpPr>
          <p:cNvPr id="14" name="Text Placeholder 3">
            <a:extLst>
              <a:ext uri="{FF2B5EF4-FFF2-40B4-BE49-F238E27FC236}">
                <a16:creationId xmlns:a16="http://schemas.microsoft.com/office/drawing/2014/main" id="{408D7265-22AD-444D-9DAE-694197297FA6}"/>
              </a:ext>
            </a:extLst>
          </p:cNvPr>
          <p:cNvSpPr>
            <a:spLocks noGrp="1"/>
          </p:cNvSpPr>
          <p:nvPr>
            <p:ph type="body" sz="half" idx="2" hasCustomPrompt="1"/>
          </p:nvPr>
        </p:nvSpPr>
        <p:spPr>
          <a:xfrm>
            <a:off x="485775" y="4870889"/>
            <a:ext cx="7400925" cy="1038525"/>
          </a:xfrm>
        </p:spPr>
        <p:txBody>
          <a:bodyPr anchor="b" anchorCtr="0"/>
          <a:lstStyle>
            <a:lvl1pPr marL="0" marR="0" indent="0" algn="l" defTabSz="457200" rtl="0" eaLnBrk="1" fontAlgn="auto" latinLnBrk="0" hangingPunct="1">
              <a:lnSpc>
                <a:spcPct val="100000"/>
              </a:lnSpc>
              <a:spcBef>
                <a:spcPts val="0"/>
              </a:spcBef>
              <a:spcAft>
                <a:spcPts val="0"/>
              </a:spcAft>
              <a:buClrTx/>
              <a:buSzTx/>
              <a:buFont typeface="Arial"/>
              <a:buNone/>
              <a:tabLst/>
              <a:defRPr lang="en-US" sz="1400">
                <a:solidFill>
                  <a:schemeClr val="bg1"/>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dirty="0">
                <a:effectLst/>
                <a:latin typeface="Arial" panose="020B0604020202020204" pitchFamily="34" charset="0"/>
              </a:rPr>
              <a:t>Client name (optional)</a:t>
            </a:r>
            <a:br>
              <a:rPr lang="en-US" dirty="0">
                <a:effectLst/>
                <a:latin typeface="Arial" panose="020B0604020202020204" pitchFamily="34" charset="0"/>
              </a:rPr>
            </a:br>
            <a:r>
              <a:rPr lang="en-US" dirty="0">
                <a:effectLst/>
                <a:latin typeface="Arial" panose="020B0604020202020204" pitchFamily="34" charset="0"/>
              </a:rPr>
              <a:t>Month 00, 20XX</a:t>
            </a:r>
            <a:br>
              <a:rPr lang="en-US" dirty="0">
                <a:effectLst/>
                <a:latin typeface="Arial" panose="020B0604020202020204" pitchFamily="34" charset="0"/>
              </a:rPr>
            </a:br>
            <a:r>
              <a:rPr lang="en-US" dirty="0">
                <a:effectLst/>
                <a:latin typeface="Arial" panose="020B0604020202020204" pitchFamily="34" charset="0"/>
              </a:rPr>
              <a:t>Presenter1, Job Title, location  |  Presenter2, Job Title, location</a:t>
            </a:r>
            <a:br>
              <a:rPr lang="en-US" dirty="0">
                <a:effectLst/>
                <a:latin typeface="Arial" panose="020B0604020202020204" pitchFamily="34" charset="0"/>
              </a:rPr>
            </a:br>
            <a:r>
              <a:rPr lang="en-US" dirty="0">
                <a:effectLst/>
                <a:latin typeface="Arial" panose="020B0604020202020204" pitchFamily="34" charset="0"/>
              </a:rPr>
              <a:t/>
            </a:r>
            <a:br>
              <a:rPr lang="en-US" dirty="0">
                <a:effectLst/>
                <a:latin typeface="Arial" panose="020B0604020202020204" pitchFamily="34" charset="0"/>
              </a:rPr>
            </a:br>
            <a:r>
              <a:rPr lang="en-US" dirty="0">
                <a:effectLst/>
                <a:latin typeface="Arial" panose="020B0604020202020204" pitchFamily="34" charset="0"/>
              </a:rPr>
              <a:t>Tagline (optional)</a:t>
            </a:r>
          </a:p>
        </p:txBody>
      </p:sp>
      <p:sp>
        <p:nvSpPr>
          <p:cNvPr id="15" name="Line 54"/>
          <p:cNvSpPr>
            <a:spLocks noChangeShapeType="1"/>
          </p:cNvSpPr>
          <p:nvPr userDrawn="1"/>
        </p:nvSpPr>
        <p:spPr bwMode="auto">
          <a:xfrm>
            <a:off x="2002840" y="499365"/>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 name="Line 55"/>
          <p:cNvSpPr>
            <a:spLocks noChangeShapeType="1"/>
          </p:cNvSpPr>
          <p:nvPr userDrawn="1"/>
        </p:nvSpPr>
        <p:spPr bwMode="auto">
          <a:xfrm>
            <a:off x="2002840" y="499365"/>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Picture Placeholder 5">
            <a:extLst>
              <a:ext uri="{FF2B5EF4-FFF2-40B4-BE49-F238E27FC236}">
                <a16:creationId xmlns:a16="http://schemas.microsoft.com/office/drawing/2014/main" id="{2929EB37-3AE6-8A4E-BF4E-DB8B5DE61D2A}"/>
              </a:ext>
            </a:extLst>
          </p:cNvPr>
          <p:cNvSpPr>
            <a:spLocks noGrp="1" noChangeAspect="1"/>
          </p:cNvSpPr>
          <p:nvPr>
            <p:ph type="pic" sz="quarter" idx="11" hasCustomPrompt="1"/>
          </p:nvPr>
        </p:nvSpPr>
        <p:spPr>
          <a:xfrm>
            <a:off x="8707120" y="361951"/>
            <a:ext cx="3002280" cy="338459"/>
          </a:xfrm>
          <a:noFill/>
        </p:spPr>
        <p:txBody>
          <a:bodyPr anchor="t" anchorCtr="0"/>
          <a:lstStyle>
            <a:lvl1pPr algn="r">
              <a:defRPr sz="1000">
                <a:solidFill>
                  <a:srgbClr val="FF0000"/>
                </a:solidFill>
              </a:defRPr>
            </a:lvl1pPr>
          </a:lstStyle>
          <a:p>
            <a:r>
              <a:rPr lang="en-US" dirty="0" smtClean="0"/>
              <a:t>Placeholder for a third party or a client logo if needed.</a:t>
            </a:r>
            <a:br>
              <a:rPr lang="en-US" dirty="0" smtClean="0"/>
            </a:br>
            <a:endParaRPr lang="en-US" dirty="0" smtClean="0"/>
          </a:p>
        </p:txBody>
      </p:sp>
      <p:sp>
        <p:nvSpPr>
          <p:cNvPr id="18" name="Text Placeholder 7"/>
          <p:cNvSpPr>
            <a:spLocks noGrp="1"/>
          </p:cNvSpPr>
          <p:nvPr>
            <p:ph type="body" sz="quarter" idx="13" hasCustomPrompt="1"/>
          </p:nvPr>
        </p:nvSpPr>
        <p:spPr>
          <a:xfrm>
            <a:off x="8707120" y="1081847"/>
            <a:ext cx="2875280" cy="639323"/>
          </a:xfrm>
        </p:spPr>
        <p:txBody>
          <a:bodyPr/>
          <a:lstStyle>
            <a:lvl1pPr>
              <a:defRPr sz="1000" baseline="0">
                <a:solidFill>
                  <a:srgbClr val="FF0000"/>
                </a:solidFill>
              </a:defRPr>
            </a:lvl1pPr>
          </a:lstStyle>
          <a:p>
            <a:pPr lvl="0"/>
            <a:r>
              <a:rPr lang="en-US" dirty="0" smtClean="0"/>
              <a:t>Zoom in on placeholder until image icon appears. Click icon to insert your image. Once inserted, go to Format tab &gt; click Crop &gt; select “Fit”. Size up as needed if you have a vertical or square logo.  </a:t>
            </a:r>
          </a:p>
        </p:txBody>
      </p:sp>
      <p:sp>
        <p:nvSpPr>
          <p:cNvPr id="19" name="Text Placeholder 7"/>
          <p:cNvSpPr>
            <a:spLocks noGrp="1"/>
          </p:cNvSpPr>
          <p:nvPr>
            <p:ph type="body" sz="quarter" idx="14" hasCustomPrompt="1"/>
          </p:nvPr>
        </p:nvSpPr>
        <p:spPr>
          <a:xfrm>
            <a:off x="8648065" y="744032"/>
            <a:ext cx="213995" cy="288666"/>
          </a:xfrm>
          <a:prstGeom prst="upArrow">
            <a:avLst>
              <a:gd name="adj1" fmla="val 33976"/>
              <a:gd name="adj2" fmla="val 50000"/>
            </a:avLst>
          </a:prstGeom>
          <a:solidFill>
            <a:srgbClr val="FF0000"/>
          </a:solidFill>
        </p:spPr>
        <p:txBody>
          <a:bodyPr/>
          <a:lstStyle>
            <a:lvl1pPr>
              <a:defRPr sz="1000" baseline="0">
                <a:solidFill>
                  <a:srgbClr val="FF0000"/>
                </a:solidFill>
              </a:defRPr>
            </a:lvl1pPr>
          </a:lstStyle>
          <a:p>
            <a:pPr lvl="0"/>
            <a:r>
              <a:rPr lang="en-US" dirty="0" smtClean="0"/>
              <a:t> </a:t>
            </a:r>
          </a:p>
        </p:txBody>
      </p:sp>
      <p:sp>
        <p:nvSpPr>
          <p:cNvPr id="20" name="Text Placeholder 7"/>
          <p:cNvSpPr>
            <a:spLocks noGrp="1"/>
          </p:cNvSpPr>
          <p:nvPr>
            <p:ph type="body" sz="quarter" idx="15" hasCustomPrompt="1"/>
          </p:nvPr>
        </p:nvSpPr>
        <p:spPr>
          <a:xfrm>
            <a:off x="448437" y="816206"/>
            <a:ext cx="7243280" cy="752691"/>
          </a:xfrm>
          <a:noFill/>
        </p:spPr>
        <p:txBody>
          <a:bodyPr/>
          <a:lstStyle>
            <a:lvl1pPr>
              <a:spcAft>
                <a:spcPts val="0"/>
              </a:spcAft>
              <a:defRPr sz="1400" b="1" baseline="0">
                <a:solidFill>
                  <a:srgbClr val="FF0000"/>
                </a:solidFill>
              </a:defRPr>
            </a:lvl1pPr>
          </a:lstStyle>
          <a:p>
            <a:r>
              <a:rPr lang="en-US" dirty="0" smtClean="0"/>
              <a:t>Note: Use this format with a dark photo as your background. If using a third party or client logo, it needs to have a transparent background and have enough contrast against the photo. Please visit company logo library on Global Sales SharePoint site. </a:t>
            </a:r>
          </a:p>
          <a:p>
            <a:endParaRPr lang="en-US" dirty="0" smtClean="0"/>
          </a:p>
        </p:txBody>
      </p:sp>
    </p:spTree>
    <p:extLst>
      <p:ext uri="{BB962C8B-B14F-4D97-AF65-F5344CB8AC3E}">
        <p14:creationId xmlns:p14="http://schemas.microsoft.com/office/powerpoint/2010/main" val="222938038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le slide A: light image">
    <p:bg>
      <p:bgPr>
        <a:gradFill>
          <a:gsLst>
            <a:gs pos="0">
              <a:srgbClr val="002C77"/>
            </a:gs>
            <a:gs pos="55000">
              <a:schemeClr val="accent1"/>
            </a:gs>
            <a:gs pos="59000">
              <a:srgbClr val="202020"/>
            </a:gs>
            <a:gs pos="100000">
              <a:srgbClr val="202020"/>
            </a:gs>
          </a:gsLst>
          <a:lin ang="5400000" scaled="1"/>
        </a:gra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8E1ADAF-78DD-5D4E-8C31-F993DBAD59C1}"/>
              </a:ext>
            </a:extLst>
          </p:cNvPr>
          <p:cNvGraphicFramePr>
            <a:graphicFrameLocks noChangeAspect="1"/>
          </p:cNvGraphicFramePr>
          <p:nvPr>
            <p:custDataLst>
              <p:tags r:id="rId2"/>
            </p:custDataLst>
            <p:extLst>
              <p:ext uri="{D42A27DB-BD31-4B8C-83A1-F6EECF244321}">
                <p14:modId xmlns:p14="http://schemas.microsoft.com/office/powerpoint/2010/main" val="43349047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65816"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F8E1ADAF-78DD-5D4E-8C31-F993DBAD59C1}"/>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0" name="Picture Placeholder 73">
            <a:extLst>
              <a:ext uri="{FF2B5EF4-FFF2-40B4-BE49-F238E27FC236}">
                <a16:creationId xmlns:a16="http://schemas.microsoft.com/office/drawing/2014/main" id="{73319BE5-0EF3-DD4B-B826-A8E9F0755285}"/>
              </a:ext>
            </a:extLst>
          </p:cNvPr>
          <p:cNvSpPr>
            <a:spLocks noGrp="1"/>
          </p:cNvSpPr>
          <p:nvPr>
            <p:ph type="pic" sz="quarter" idx="10" hasCustomPrompt="1"/>
          </p:nvPr>
        </p:nvSpPr>
        <p:spPr>
          <a:xfrm>
            <a:off x="0" y="0"/>
            <a:ext cx="12191998" cy="6858000"/>
          </a:xfrm>
          <a:custGeom>
            <a:avLst/>
            <a:gdLst>
              <a:gd name="connsiteX0" fmla="*/ 2154181 w 12191998"/>
              <a:gd name="connsiteY0" fmla="*/ 6348734 h 6858000"/>
              <a:gd name="connsiteX1" fmla="*/ 2154181 w 12191998"/>
              <a:gd name="connsiteY1" fmla="*/ 6352725 h 6858000"/>
              <a:gd name="connsiteX2" fmla="*/ 2152427 w 12191998"/>
              <a:gd name="connsiteY2" fmla="*/ 6363608 h 6858000"/>
              <a:gd name="connsiteX3" fmla="*/ 2145232 w 12191998"/>
              <a:gd name="connsiteY3" fmla="*/ 6371135 h 6858000"/>
              <a:gd name="connsiteX4" fmla="*/ 2134047 w 12191998"/>
              <a:gd name="connsiteY4" fmla="*/ 6373886 h 6858000"/>
              <a:gd name="connsiteX5" fmla="*/ 2124403 w 12191998"/>
              <a:gd name="connsiteY5" fmla="*/ 6370984 h 6858000"/>
              <a:gd name="connsiteX6" fmla="*/ 2121108 w 12191998"/>
              <a:gd name="connsiteY6" fmla="*/ 6363729 h 6858000"/>
              <a:gd name="connsiteX7" fmla="*/ 2122620 w 12191998"/>
              <a:gd name="connsiteY7" fmla="*/ 6358559 h 6858000"/>
              <a:gd name="connsiteX8" fmla="*/ 2126912 w 12191998"/>
              <a:gd name="connsiteY8" fmla="*/ 6355022 h 6858000"/>
              <a:gd name="connsiteX9" fmla="*/ 2136405 w 12191998"/>
              <a:gd name="connsiteY9" fmla="*/ 6352846 h 6858000"/>
              <a:gd name="connsiteX10" fmla="*/ 2154181 w 12191998"/>
              <a:gd name="connsiteY10" fmla="*/ 6348734 h 6858000"/>
              <a:gd name="connsiteX11" fmla="*/ 1430280 w 12191998"/>
              <a:gd name="connsiteY11" fmla="*/ 6348734 h 6858000"/>
              <a:gd name="connsiteX12" fmla="*/ 1430280 w 12191998"/>
              <a:gd name="connsiteY12" fmla="*/ 6352725 h 6858000"/>
              <a:gd name="connsiteX13" fmla="*/ 1428527 w 12191998"/>
              <a:gd name="connsiteY13" fmla="*/ 6363608 h 6858000"/>
              <a:gd name="connsiteX14" fmla="*/ 1421332 w 12191998"/>
              <a:gd name="connsiteY14" fmla="*/ 6371135 h 6858000"/>
              <a:gd name="connsiteX15" fmla="*/ 1410147 w 12191998"/>
              <a:gd name="connsiteY15" fmla="*/ 6373886 h 6858000"/>
              <a:gd name="connsiteX16" fmla="*/ 1400503 w 12191998"/>
              <a:gd name="connsiteY16" fmla="*/ 6370984 h 6858000"/>
              <a:gd name="connsiteX17" fmla="*/ 1397208 w 12191998"/>
              <a:gd name="connsiteY17" fmla="*/ 6363729 h 6858000"/>
              <a:gd name="connsiteX18" fmla="*/ 1398720 w 12191998"/>
              <a:gd name="connsiteY18" fmla="*/ 6358559 h 6858000"/>
              <a:gd name="connsiteX19" fmla="*/ 1403012 w 12191998"/>
              <a:gd name="connsiteY19" fmla="*/ 6355022 h 6858000"/>
              <a:gd name="connsiteX20" fmla="*/ 1412505 w 12191998"/>
              <a:gd name="connsiteY20" fmla="*/ 6352846 h 6858000"/>
              <a:gd name="connsiteX21" fmla="*/ 1430280 w 12191998"/>
              <a:gd name="connsiteY21" fmla="*/ 6348734 h 6858000"/>
              <a:gd name="connsiteX22" fmla="*/ 1167697 w 12191998"/>
              <a:gd name="connsiteY22" fmla="*/ 6324308 h 6858000"/>
              <a:gd name="connsiteX23" fmla="*/ 1181149 w 12191998"/>
              <a:gd name="connsiteY23" fmla="*/ 6330445 h 6858000"/>
              <a:gd name="connsiteX24" fmla="*/ 1186560 w 12191998"/>
              <a:gd name="connsiteY24" fmla="*/ 6348492 h 6858000"/>
              <a:gd name="connsiteX25" fmla="*/ 1181179 w 12191998"/>
              <a:gd name="connsiteY25" fmla="*/ 6367296 h 6858000"/>
              <a:gd name="connsiteX26" fmla="*/ 1167697 w 12191998"/>
              <a:gd name="connsiteY26" fmla="*/ 6373463 h 6858000"/>
              <a:gd name="connsiteX27" fmla="*/ 1154153 w 12191998"/>
              <a:gd name="connsiteY27" fmla="*/ 6367326 h 6858000"/>
              <a:gd name="connsiteX28" fmla="*/ 1148772 w 12191998"/>
              <a:gd name="connsiteY28" fmla="*/ 6348855 h 6858000"/>
              <a:gd name="connsiteX29" fmla="*/ 1154153 w 12191998"/>
              <a:gd name="connsiteY29" fmla="*/ 6330414 h 6858000"/>
              <a:gd name="connsiteX30" fmla="*/ 1167697 w 12191998"/>
              <a:gd name="connsiteY30" fmla="*/ 6324308 h 6858000"/>
              <a:gd name="connsiteX31" fmla="*/ 1939645 w 12191998"/>
              <a:gd name="connsiteY31" fmla="*/ 6324247 h 6858000"/>
              <a:gd name="connsiteX32" fmla="*/ 1953128 w 12191998"/>
              <a:gd name="connsiteY32" fmla="*/ 6330535 h 6858000"/>
              <a:gd name="connsiteX33" fmla="*/ 1957239 w 12191998"/>
              <a:gd name="connsiteY33" fmla="*/ 6342688 h 6858000"/>
              <a:gd name="connsiteX34" fmla="*/ 1921386 w 12191998"/>
              <a:gd name="connsiteY34" fmla="*/ 6342688 h 6858000"/>
              <a:gd name="connsiteX35" fmla="*/ 1927039 w 12191998"/>
              <a:gd name="connsiteY35" fmla="*/ 6329266 h 6858000"/>
              <a:gd name="connsiteX36" fmla="*/ 1939645 w 12191998"/>
              <a:gd name="connsiteY36" fmla="*/ 6324247 h 6858000"/>
              <a:gd name="connsiteX37" fmla="*/ 929995 w 12191998"/>
              <a:gd name="connsiteY37" fmla="*/ 6324247 h 6858000"/>
              <a:gd name="connsiteX38" fmla="*/ 943478 w 12191998"/>
              <a:gd name="connsiteY38" fmla="*/ 6330535 h 6858000"/>
              <a:gd name="connsiteX39" fmla="*/ 947589 w 12191998"/>
              <a:gd name="connsiteY39" fmla="*/ 6342688 h 6858000"/>
              <a:gd name="connsiteX40" fmla="*/ 911735 w 12191998"/>
              <a:gd name="connsiteY40" fmla="*/ 6342688 h 6858000"/>
              <a:gd name="connsiteX41" fmla="*/ 917388 w 12191998"/>
              <a:gd name="connsiteY41" fmla="*/ 6329266 h 6858000"/>
              <a:gd name="connsiteX42" fmla="*/ 929995 w 12191998"/>
              <a:gd name="connsiteY42" fmla="*/ 6324247 h 6858000"/>
              <a:gd name="connsiteX43" fmla="*/ 635687 w 12191998"/>
              <a:gd name="connsiteY43" fmla="*/ 6324247 h 6858000"/>
              <a:gd name="connsiteX44" fmla="*/ 647749 w 12191998"/>
              <a:gd name="connsiteY44" fmla="*/ 6330233 h 6858000"/>
              <a:gd name="connsiteX45" fmla="*/ 652737 w 12191998"/>
              <a:gd name="connsiteY45" fmla="*/ 6348795 h 6858000"/>
              <a:gd name="connsiteX46" fmla="*/ 647537 w 12191998"/>
              <a:gd name="connsiteY46" fmla="*/ 6367266 h 6858000"/>
              <a:gd name="connsiteX47" fmla="*/ 635203 w 12191998"/>
              <a:gd name="connsiteY47" fmla="*/ 6373463 h 6858000"/>
              <a:gd name="connsiteX48" fmla="*/ 621297 w 12191998"/>
              <a:gd name="connsiteY48" fmla="*/ 6365059 h 6858000"/>
              <a:gd name="connsiteX49" fmla="*/ 618153 w 12191998"/>
              <a:gd name="connsiteY49" fmla="*/ 6348372 h 6858000"/>
              <a:gd name="connsiteX50" fmla="*/ 623353 w 12191998"/>
              <a:gd name="connsiteY50" fmla="*/ 6330445 h 6858000"/>
              <a:gd name="connsiteX51" fmla="*/ 635687 w 12191998"/>
              <a:gd name="connsiteY51" fmla="*/ 6324247 h 6858000"/>
              <a:gd name="connsiteX52" fmla="*/ 808323 w 12191998"/>
              <a:gd name="connsiteY52" fmla="*/ 6316750 h 6858000"/>
              <a:gd name="connsiteX53" fmla="*/ 808323 w 12191998"/>
              <a:gd name="connsiteY53" fmla="*/ 6380960 h 6858000"/>
              <a:gd name="connsiteX54" fmla="*/ 819206 w 12191998"/>
              <a:gd name="connsiteY54" fmla="*/ 6380960 h 6858000"/>
              <a:gd name="connsiteX55" fmla="*/ 819206 w 12191998"/>
              <a:gd name="connsiteY55" fmla="*/ 6316750 h 6858000"/>
              <a:gd name="connsiteX56" fmla="*/ 674671 w 12191998"/>
              <a:gd name="connsiteY56" fmla="*/ 6316750 h 6858000"/>
              <a:gd name="connsiteX57" fmla="*/ 674671 w 12191998"/>
              <a:gd name="connsiteY57" fmla="*/ 6356534 h 6858000"/>
              <a:gd name="connsiteX58" fmla="*/ 675336 w 12191998"/>
              <a:gd name="connsiteY58" fmla="*/ 6366691 h 6858000"/>
              <a:gd name="connsiteX59" fmla="*/ 678691 w 12191998"/>
              <a:gd name="connsiteY59" fmla="*/ 6374763 h 6858000"/>
              <a:gd name="connsiteX60" fmla="*/ 686007 w 12191998"/>
              <a:gd name="connsiteY60" fmla="*/ 6380235 h 6858000"/>
              <a:gd name="connsiteX61" fmla="*/ 696618 w 12191998"/>
              <a:gd name="connsiteY61" fmla="*/ 6382411 h 6858000"/>
              <a:gd name="connsiteX62" fmla="*/ 716994 w 12191998"/>
              <a:gd name="connsiteY62" fmla="*/ 6371528 h 6858000"/>
              <a:gd name="connsiteX63" fmla="*/ 716994 w 12191998"/>
              <a:gd name="connsiteY63" fmla="*/ 6380960 h 6858000"/>
              <a:gd name="connsiteX64" fmla="*/ 726728 w 12191998"/>
              <a:gd name="connsiteY64" fmla="*/ 6380960 h 6858000"/>
              <a:gd name="connsiteX65" fmla="*/ 726728 w 12191998"/>
              <a:gd name="connsiteY65" fmla="*/ 6316750 h 6858000"/>
              <a:gd name="connsiteX66" fmla="*/ 715845 w 12191998"/>
              <a:gd name="connsiteY66" fmla="*/ 6316750 h 6858000"/>
              <a:gd name="connsiteX67" fmla="*/ 715845 w 12191998"/>
              <a:gd name="connsiteY67" fmla="*/ 6351153 h 6858000"/>
              <a:gd name="connsiteX68" fmla="*/ 714061 w 12191998"/>
              <a:gd name="connsiteY68" fmla="*/ 6363699 h 6858000"/>
              <a:gd name="connsiteX69" fmla="*/ 707985 w 12191998"/>
              <a:gd name="connsiteY69" fmla="*/ 6370531 h 6858000"/>
              <a:gd name="connsiteX70" fmla="*/ 698795 w 12191998"/>
              <a:gd name="connsiteY70" fmla="*/ 6373040 h 6858000"/>
              <a:gd name="connsiteX71" fmla="*/ 690572 w 12191998"/>
              <a:gd name="connsiteY71" fmla="*/ 6370591 h 6858000"/>
              <a:gd name="connsiteX72" fmla="*/ 686219 w 12191998"/>
              <a:gd name="connsiteY72" fmla="*/ 6363850 h 6858000"/>
              <a:gd name="connsiteX73" fmla="*/ 685554 w 12191998"/>
              <a:gd name="connsiteY73" fmla="*/ 6352362 h 6858000"/>
              <a:gd name="connsiteX74" fmla="*/ 685554 w 12191998"/>
              <a:gd name="connsiteY74" fmla="*/ 6316750 h 6858000"/>
              <a:gd name="connsiteX75" fmla="*/ 2210093 w 12191998"/>
              <a:gd name="connsiteY75" fmla="*/ 6315299 h 6858000"/>
              <a:gd name="connsiteX76" fmla="*/ 2189658 w 12191998"/>
              <a:gd name="connsiteY76" fmla="*/ 6325880 h 6858000"/>
              <a:gd name="connsiteX77" fmla="*/ 2189658 w 12191998"/>
              <a:gd name="connsiteY77" fmla="*/ 6316750 h 6858000"/>
              <a:gd name="connsiteX78" fmla="*/ 2179863 w 12191998"/>
              <a:gd name="connsiteY78" fmla="*/ 6316750 h 6858000"/>
              <a:gd name="connsiteX79" fmla="*/ 2179863 w 12191998"/>
              <a:gd name="connsiteY79" fmla="*/ 6380960 h 6858000"/>
              <a:gd name="connsiteX80" fmla="*/ 2190746 w 12191998"/>
              <a:gd name="connsiteY80" fmla="*/ 6380960 h 6858000"/>
              <a:gd name="connsiteX81" fmla="*/ 2190746 w 12191998"/>
              <a:gd name="connsiteY81" fmla="*/ 6345893 h 6858000"/>
              <a:gd name="connsiteX82" fmla="*/ 2195794 w 12191998"/>
              <a:gd name="connsiteY82" fmla="*/ 6329145 h 6858000"/>
              <a:gd name="connsiteX83" fmla="*/ 2207796 w 12191998"/>
              <a:gd name="connsiteY83" fmla="*/ 6324731 h 6858000"/>
              <a:gd name="connsiteX84" fmla="*/ 2215384 w 12191998"/>
              <a:gd name="connsiteY84" fmla="*/ 6326696 h 6858000"/>
              <a:gd name="connsiteX85" fmla="*/ 2219888 w 12191998"/>
              <a:gd name="connsiteY85" fmla="*/ 6331956 h 6858000"/>
              <a:gd name="connsiteX86" fmla="*/ 2221158 w 12191998"/>
              <a:gd name="connsiteY86" fmla="*/ 6341902 h 6858000"/>
              <a:gd name="connsiteX87" fmla="*/ 2221158 w 12191998"/>
              <a:gd name="connsiteY87" fmla="*/ 6380960 h 6858000"/>
              <a:gd name="connsiteX88" fmla="*/ 2232041 w 12191998"/>
              <a:gd name="connsiteY88" fmla="*/ 6380960 h 6858000"/>
              <a:gd name="connsiteX89" fmla="*/ 2232041 w 12191998"/>
              <a:gd name="connsiteY89" fmla="*/ 6341479 h 6858000"/>
              <a:gd name="connsiteX90" fmla="*/ 2231436 w 12191998"/>
              <a:gd name="connsiteY90" fmla="*/ 6330898 h 6858000"/>
              <a:gd name="connsiteX91" fmla="*/ 2228051 w 12191998"/>
              <a:gd name="connsiteY91" fmla="*/ 6322857 h 6858000"/>
              <a:gd name="connsiteX92" fmla="*/ 2220765 w 12191998"/>
              <a:gd name="connsiteY92" fmla="*/ 6317385 h 6858000"/>
              <a:gd name="connsiteX93" fmla="*/ 2210093 w 12191998"/>
              <a:gd name="connsiteY93" fmla="*/ 6315299 h 6858000"/>
              <a:gd name="connsiteX94" fmla="*/ 2140335 w 12191998"/>
              <a:gd name="connsiteY94" fmla="*/ 6315299 h 6858000"/>
              <a:gd name="connsiteX95" fmla="*/ 2125764 w 12191998"/>
              <a:gd name="connsiteY95" fmla="*/ 6317566 h 6858000"/>
              <a:gd name="connsiteX96" fmla="*/ 2116150 w 12191998"/>
              <a:gd name="connsiteY96" fmla="*/ 6324036 h 6858000"/>
              <a:gd name="connsiteX97" fmla="*/ 2111374 w 12191998"/>
              <a:gd name="connsiteY97" fmla="*/ 6335070 h 6858000"/>
              <a:gd name="connsiteX98" fmla="*/ 2122015 w 12191998"/>
              <a:gd name="connsiteY98" fmla="*/ 6336521 h 6858000"/>
              <a:gd name="connsiteX99" fmla="*/ 2127426 w 12191998"/>
              <a:gd name="connsiteY99" fmla="*/ 6326998 h 6858000"/>
              <a:gd name="connsiteX100" fmla="*/ 2138763 w 12191998"/>
              <a:gd name="connsiteY100" fmla="*/ 6324308 h 6858000"/>
              <a:gd name="connsiteX101" fmla="*/ 2151158 w 12191998"/>
              <a:gd name="connsiteY101" fmla="*/ 6327996 h 6858000"/>
              <a:gd name="connsiteX102" fmla="*/ 2154241 w 12191998"/>
              <a:gd name="connsiteY102" fmla="*/ 6337368 h 6858000"/>
              <a:gd name="connsiteX103" fmla="*/ 2154181 w 12191998"/>
              <a:gd name="connsiteY103" fmla="*/ 6340209 h 6858000"/>
              <a:gd name="connsiteX104" fmla="*/ 2134772 w 12191998"/>
              <a:gd name="connsiteY104" fmla="*/ 6343958 h 6858000"/>
              <a:gd name="connsiteX105" fmla="*/ 2125099 w 12191998"/>
              <a:gd name="connsiteY105" fmla="*/ 6345590 h 6858000"/>
              <a:gd name="connsiteX106" fmla="*/ 2117269 w 12191998"/>
              <a:gd name="connsiteY106" fmla="*/ 6349158 h 6858000"/>
              <a:gd name="connsiteX107" fmla="*/ 2111646 w 12191998"/>
              <a:gd name="connsiteY107" fmla="*/ 6355415 h 6858000"/>
              <a:gd name="connsiteX108" fmla="*/ 2109499 w 12191998"/>
              <a:gd name="connsiteY108" fmla="*/ 6364031 h 6858000"/>
              <a:gd name="connsiteX109" fmla="*/ 2115183 w 12191998"/>
              <a:gd name="connsiteY109" fmla="*/ 6377242 h 6858000"/>
              <a:gd name="connsiteX110" fmla="*/ 2131447 w 12191998"/>
              <a:gd name="connsiteY110" fmla="*/ 6382411 h 6858000"/>
              <a:gd name="connsiteX111" fmla="*/ 2143449 w 12191998"/>
              <a:gd name="connsiteY111" fmla="*/ 6380295 h 6858000"/>
              <a:gd name="connsiteX112" fmla="*/ 2155088 w 12191998"/>
              <a:gd name="connsiteY112" fmla="*/ 6373040 h 6858000"/>
              <a:gd name="connsiteX113" fmla="*/ 2157264 w 12191998"/>
              <a:gd name="connsiteY113" fmla="*/ 6380960 h 6858000"/>
              <a:gd name="connsiteX114" fmla="*/ 2168631 w 12191998"/>
              <a:gd name="connsiteY114" fmla="*/ 6380960 h 6858000"/>
              <a:gd name="connsiteX115" fmla="*/ 2165880 w 12191998"/>
              <a:gd name="connsiteY115" fmla="*/ 6373251 h 6858000"/>
              <a:gd name="connsiteX116" fmla="*/ 2165184 w 12191998"/>
              <a:gd name="connsiteY116" fmla="*/ 6354055 h 6858000"/>
              <a:gd name="connsiteX117" fmla="*/ 2165184 w 12191998"/>
              <a:gd name="connsiteY117" fmla="*/ 6339544 h 6858000"/>
              <a:gd name="connsiteX118" fmla="*/ 2164640 w 12191998"/>
              <a:gd name="connsiteY118" fmla="*/ 6329508 h 6858000"/>
              <a:gd name="connsiteX119" fmla="*/ 2161254 w 12191998"/>
              <a:gd name="connsiteY119" fmla="*/ 6322101 h 6858000"/>
              <a:gd name="connsiteX120" fmla="*/ 2153697 w 12191998"/>
              <a:gd name="connsiteY120" fmla="*/ 6317234 h 6858000"/>
              <a:gd name="connsiteX121" fmla="*/ 2140335 w 12191998"/>
              <a:gd name="connsiteY121" fmla="*/ 6315299 h 6858000"/>
              <a:gd name="connsiteX122" fmla="*/ 2076743 w 12191998"/>
              <a:gd name="connsiteY122" fmla="*/ 6315299 h 6858000"/>
              <a:gd name="connsiteX123" fmla="*/ 2056308 w 12191998"/>
              <a:gd name="connsiteY123" fmla="*/ 6325880 h 6858000"/>
              <a:gd name="connsiteX124" fmla="*/ 2056308 w 12191998"/>
              <a:gd name="connsiteY124" fmla="*/ 6316750 h 6858000"/>
              <a:gd name="connsiteX125" fmla="*/ 2046513 w 12191998"/>
              <a:gd name="connsiteY125" fmla="*/ 6316750 h 6858000"/>
              <a:gd name="connsiteX126" fmla="*/ 2046513 w 12191998"/>
              <a:gd name="connsiteY126" fmla="*/ 6380960 h 6858000"/>
              <a:gd name="connsiteX127" fmla="*/ 2057396 w 12191998"/>
              <a:gd name="connsiteY127" fmla="*/ 6380960 h 6858000"/>
              <a:gd name="connsiteX128" fmla="*/ 2057396 w 12191998"/>
              <a:gd name="connsiteY128" fmla="*/ 6345893 h 6858000"/>
              <a:gd name="connsiteX129" fmla="*/ 2062444 w 12191998"/>
              <a:gd name="connsiteY129" fmla="*/ 6329145 h 6858000"/>
              <a:gd name="connsiteX130" fmla="*/ 2074446 w 12191998"/>
              <a:gd name="connsiteY130" fmla="*/ 6324731 h 6858000"/>
              <a:gd name="connsiteX131" fmla="*/ 2082034 w 12191998"/>
              <a:gd name="connsiteY131" fmla="*/ 6326696 h 6858000"/>
              <a:gd name="connsiteX132" fmla="*/ 2086538 w 12191998"/>
              <a:gd name="connsiteY132" fmla="*/ 6331956 h 6858000"/>
              <a:gd name="connsiteX133" fmla="*/ 2087808 w 12191998"/>
              <a:gd name="connsiteY133" fmla="*/ 6341902 h 6858000"/>
              <a:gd name="connsiteX134" fmla="*/ 2087808 w 12191998"/>
              <a:gd name="connsiteY134" fmla="*/ 6380960 h 6858000"/>
              <a:gd name="connsiteX135" fmla="*/ 2098691 w 12191998"/>
              <a:gd name="connsiteY135" fmla="*/ 6380960 h 6858000"/>
              <a:gd name="connsiteX136" fmla="*/ 2098691 w 12191998"/>
              <a:gd name="connsiteY136" fmla="*/ 6341479 h 6858000"/>
              <a:gd name="connsiteX137" fmla="*/ 2098086 w 12191998"/>
              <a:gd name="connsiteY137" fmla="*/ 6330898 h 6858000"/>
              <a:gd name="connsiteX138" fmla="*/ 2094701 w 12191998"/>
              <a:gd name="connsiteY138" fmla="*/ 6322857 h 6858000"/>
              <a:gd name="connsiteX139" fmla="*/ 2087415 w 12191998"/>
              <a:gd name="connsiteY139" fmla="*/ 6317385 h 6858000"/>
              <a:gd name="connsiteX140" fmla="*/ 2076743 w 12191998"/>
              <a:gd name="connsiteY140" fmla="*/ 6315299 h 6858000"/>
              <a:gd name="connsiteX141" fmla="*/ 2010068 w 12191998"/>
              <a:gd name="connsiteY141" fmla="*/ 6315299 h 6858000"/>
              <a:gd name="connsiteX142" fmla="*/ 1989632 w 12191998"/>
              <a:gd name="connsiteY142" fmla="*/ 6325880 h 6858000"/>
              <a:gd name="connsiteX143" fmla="*/ 1989632 w 12191998"/>
              <a:gd name="connsiteY143" fmla="*/ 6316750 h 6858000"/>
              <a:gd name="connsiteX144" fmla="*/ 1979838 w 12191998"/>
              <a:gd name="connsiteY144" fmla="*/ 6316750 h 6858000"/>
              <a:gd name="connsiteX145" fmla="*/ 1979838 w 12191998"/>
              <a:gd name="connsiteY145" fmla="*/ 6380960 h 6858000"/>
              <a:gd name="connsiteX146" fmla="*/ 1990721 w 12191998"/>
              <a:gd name="connsiteY146" fmla="*/ 6380960 h 6858000"/>
              <a:gd name="connsiteX147" fmla="*/ 1990721 w 12191998"/>
              <a:gd name="connsiteY147" fmla="*/ 6345893 h 6858000"/>
              <a:gd name="connsiteX148" fmla="*/ 1995769 w 12191998"/>
              <a:gd name="connsiteY148" fmla="*/ 6329145 h 6858000"/>
              <a:gd name="connsiteX149" fmla="*/ 2007771 w 12191998"/>
              <a:gd name="connsiteY149" fmla="*/ 6324731 h 6858000"/>
              <a:gd name="connsiteX150" fmla="*/ 2015359 w 12191998"/>
              <a:gd name="connsiteY150" fmla="*/ 6326696 h 6858000"/>
              <a:gd name="connsiteX151" fmla="*/ 2019863 w 12191998"/>
              <a:gd name="connsiteY151" fmla="*/ 6331956 h 6858000"/>
              <a:gd name="connsiteX152" fmla="*/ 2021133 w 12191998"/>
              <a:gd name="connsiteY152" fmla="*/ 6341902 h 6858000"/>
              <a:gd name="connsiteX153" fmla="*/ 2021133 w 12191998"/>
              <a:gd name="connsiteY153" fmla="*/ 6380960 h 6858000"/>
              <a:gd name="connsiteX154" fmla="*/ 2032016 w 12191998"/>
              <a:gd name="connsiteY154" fmla="*/ 6380960 h 6858000"/>
              <a:gd name="connsiteX155" fmla="*/ 2032016 w 12191998"/>
              <a:gd name="connsiteY155" fmla="*/ 6341479 h 6858000"/>
              <a:gd name="connsiteX156" fmla="*/ 2031411 w 12191998"/>
              <a:gd name="connsiteY156" fmla="*/ 6330898 h 6858000"/>
              <a:gd name="connsiteX157" fmla="*/ 2028025 w 12191998"/>
              <a:gd name="connsiteY157" fmla="*/ 6322857 h 6858000"/>
              <a:gd name="connsiteX158" fmla="*/ 2020740 w 12191998"/>
              <a:gd name="connsiteY158" fmla="*/ 6317385 h 6858000"/>
              <a:gd name="connsiteX159" fmla="*/ 2010068 w 12191998"/>
              <a:gd name="connsiteY159" fmla="*/ 6315299 h 6858000"/>
              <a:gd name="connsiteX160" fmla="*/ 1939524 w 12191998"/>
              <a:gd name="connsiteY160" fmla="*/ 6315299 h 6858000"/>
              <a:gd name="connsiteX161" fmla="*/ 1917879 w 12191998"/>
              <a:gd name="connsiteY161" fmla="*/ 6324247 h 6858000"/>
              <a:gd name="connsiteX162" fmla="*/ 1909535 w 12191998"/>
              <a:gd name="connsiteY162" fmla="*/ 6349399 h 6858000"/>
              <a:gd name="connsiteX163" fmla="*/ 1917788 w 12191998"/>
              <a:gd name="connsiteY163" fmla="*/ 6373735 h 6858000"/>
              <a:gd name="connsiteX164" fmla="*/ 1940128 w 12191998"/>
              <a:gd name="connsiteY164" fmla="*/ 6382411 h 6858000"/>
              <a:gd name="connsiteX165" fmla="*/ 1958509 w 12191998"/>
              <a:gd name="connsiteY165" fmla="*/ 6376970 h 6858000"/>
              <a:gd name="connsiteX166" fmla="*/ 1968364 w 12191998"/>
              <a:gd name="connsiteY166" fmla="*/ 6361673 h 6858000"/>
              <a:gd name="connsiteX167" fmla="*/ 1957118 w 12191998"/>
              <a:gd name="connsiteY167" fmla="*/ 6360282 h 6858000"/>
              <a:gd name="connsiteX168" fmla="*/ 1950407 w 12191998"/>
              <a:gd name="connsiteY168" fmla="*/ 6370319 h 6858000"/>
              <a:gd name="connsiteX169" fmla="*/ 1940189 w 12191998"/>
              <a:gd name="connsiteY169" fmla="*/ 6373463 h 6858000"/>
              <a:gd name="connsiteX170" fmla="*/ 1926766 w 12191998"/>
              <a:gd name="connsiteY170" fmla="*/ 6367840 h 6858000"/>
              <a:gd name="connsiteX171" fmla="*/ 1920781 w 12191998"/>
              <a:gd name="connsiteY171" fmla="*/ 6351636 h 6858000"/>
              <a:gd name="connsiteX172" fmla="*/ 1968666 w 12191998"/>
              <a:gd name="connsiteY172" fmla="*/ 6351636 h 6858000"/>
              <a:gd name="connsiteX173" fmla="*/ 1968727 w 12191998"/>
              <a:gd name="connsiteY173" fmla="*/ 6348734 h 6858000"/>
              <a:gd name="connsiteX174" fmla="*/ 1960564 w 12191998"/>
              <a:gd name="connsiteY174" fmla="*/ 6324066 h 6858000"/>
              <a:gd name="connsiteX175" fmla="*/ 1939524 w 12191998"/>
              <a:gd name="connsiteY175" fmla="*/ 6315299 h 6858000"/>
              <a:gd name="connsiteX176" fmla="*/ 1805751 w 12191998"/>
              <a:gd name="connsiteY176" fmla="*/ 6315299 h 6858000"/>
              <a:gd name="connsiteX177" fmla="*/ 1790424 w 12191998"/>
              <a:gd name="connsiteY177" fmla="*/ 6319199 h 6858000"/>
              <a:gd name="connsiteX178" fmla="*/ 1779934 w 12191998"/>
              <a:gd name="connsiteY178" fmla="*/ 6330898 h 6858000"/>
              <a:gd name="connsiteX179" fmla="*/ 1776487 w 12191998"/>
              <a:gd name="connsiteY179" fmla="*/ 6349097 h 6858000"/>
              <a:gd name="connsiteX180" fmla="*/ 1784498 w 12191998"/>
              <a:gd name="connsiteY180" fmla="*/ 6373796 h 6858000"/>
              <a:gd name="connsiteX181" fmla="*/ 1805690 w 12191998"/>
              <a:gd name="connsiteY181" fmla="*/ 6382411 h 6858000"/>
              <a:gd name="connsiteX182" fmla="*/ 1823436 w 12191998"/>
              <a:gd name="connsiteY182" fmla="*/ 6376154 h 6858000"/>
              <a:gd name="connsiteX183" fmla="*/ 1832414 w 12191998"/>
              <a:gd name="connsiteY183" fmla="*/ 6358831 h 6858000"/>
              <a:gd name="connsiteX184" fmla="*/ 1821713 w 12191998"/>
              <a:gd name="connsiteY184" fmla="*/ 6357441 h 6858000"/>
              <a:gd name="connsiteX185" fmla="*/ 1816271 w 12191998"/>
              <a:gd name="connsiteY185" fmla="*/ 6369533 h 6858000"/>
              <a:gd name="connsiteX186" fmla="*/ 1805569 w 12191998"/>
              <a:gd name="connsiteY186" fmla="*/ 6373463 h 6858000"/>
              <a:gd name="connsiteX187" fmla="*/ 1792631 w 12191998"/>
              <a:gd name="connsiteY187" fmla="*/ 6367598 h 6858000"/>
              <a:gd name="connsiteX188" fmla="*/ 1787673 w 12191998"/>
              <a:gd name="connsiteY188" fmla="*/ 6348795 h 6858000"/>
              <a:gd name="connsiteX189" fmla="*/ 1792812 w 12191998"/>
              <a:gd name="connsiteY189" fmla="*/ 6330142 h 6858000"/>
              <a:gd name="connsiteX190" fmla="*/ 1806174 w 12191998"/>
              <a:gd name="connsiteY190" fmla="*/ 6324247 h 6858000"/>
              <a:gd name="connsiteX191" fmla="*/ 1815455 w 12191998"/>
              <a:gd name="connsiteY191" fmla="*/ 6327512 h 6858000"/>
              <a:gd name="connsiteX192" fmla="*/ 1820805 w 12191998"/>
              <a:gd name="connsiteY192" fmla="*/ 6337247 h 6858000"/>
              <a:gd name="connsiteX193" fmla="*/ 1831386 w 12191998"/>
              <a:gd name="connsiteY193" fmla="*/ 6335614 h 6858000"/>
              <a:gd name="connsiteX194" fmla="*/ 1822861 w 12191998"/>
              <a:gd name="connsiteY194" fmla="*/ 6320590 h 6858000"/>
              <a:gd name="connsiteX195" fmla="*/ 1805751 w 12191998"/>
              <a:gd name="connsiteY195" fmla="*/ 6315299 h 6858000"/>
              <a:gd name="connsiteX196" fmla="*/ 1515164 w 12191998"/>
              <a:gd name="connsiteY196" fmla="*/ 6315299 h 6858000"/>
              <a:gd name="connsiteX197" fmla="*/ 1505762 w 12191998"/>
              <a:gd name="connsiteY197" fmla="*/ 6316599 h 6858000"/>
              <a:gd name="connsiteX198" fmla="*/ 1498839 w 12191998"/>
              <a:gd name="connsiteY198" fmla="*/ 6319773 h 6858000"/>
              <a:gd name="connsiteX199" fmla="*/ 1493488 w 12191998"/>
              <a:gd name="connsiteY199" fmla="*/ 6325850 h 6858000"/>
              <a:gd name="connsiteX200" fmla="*/ 1491523 w 12191998"/>
              <a:gd name="connsiteY200" fmla="*/ 6333800 h 6858000"/>
              <a:gd name="connsiteX201" fmla="*/ 1493912 w 12191998"/>
              <a:gd name="connsiteY201" fmla="*/ 6342416 h 6858000"/>
              <a:gd name="connsiteX202" fmla="*/ 1500925 w 12191998"/>
              <a:gd name="connsiteY202" fmla="*/ 6348523 h 6858000"/>
              <a:gd name="connsiteX203" fmla="*/ 1517522 w 12191998"/>
              <a:gd name="connsiteY203" fmla="*/ 6353753 h 6858000"/>
              <a:gd name="connsiteX204" fmla="*/ 1528647 w 12191998"/>
              <a:gd name="connsiteY204" fmla="*/ 6357441 h 6858000"/>
              <a:gd name="connsiteX205" fmla="*/ 1531851 w 12191998"/>
              <a:gd name="connsiteY205" fmla="*/ 6363245 h 6858000"/>
              <a:gd name="connsiteX206" fmla="*/ 1528223 w 12191998"/>
              <a:gd name="connsiteY206" fmla="*/ 6370410 h 6858000"/>
              <a:gd name="connsiteX207" fmla="*/ 1517099 w 12191998"/>
              <a:gd name="connsiteY207" fmla="*/ 6373463 h 6858000"/>
              <a:gd name="connsiteX208" fmla="*/ 1505520 w 12191998"/>
              <a:gd name="connsiteY208" fmla="*/ 6370017 h 6858000"/>
              <a:gd name="connsiteX209" fmla="*/ 1500471 w 12191998"/>
              <a:gd name="connsiteY209" fmla="*/ 6360101 h 6858000"/>
              <a:gd name="connsiteX210" fmla="*/ 1489709 w 12191998"/>
              <a:gd name="connsiteY210" fmla="*/ 6361794 h 6858000"/>
              <a:gd name="connsiteX211" fmla="*/ 1498083 w 12191998"/>
              <a:gd name="connsiteY211" fmla="*/ 6377212 h 6858000"/>
              <a:gd name="connsiteX212" fmla="*/ 1517159 w 12191998"/>
              <a:gd name="connsiteY212" fmla="*/ 6382411 h 6858000"/>
              <a:gd name="connsiteX213" fmla="*/ 1530702 w 12191998"/>
              <a:gd name="connsiteY213" fmla="*/ 6379781 h 6858000"/>
              <a:gd name="connsiteX214" fmla="*/ 1539862 w 12191998"/>
              <a:gd name="connsiteY214" fmla="*/ 6372344 h 6858000"/>
              <a:gd name="connsiteX215" fmla="*/ 1543036 w 12191998"/>
              <a:gd name="connsiteY215" fmla="*/ 6362096 h 6858000"/>
              <a:gd name="connsiteX216" fmla="*/ 1540436 w 12191998"/>
              <a:gd name="connsiteY216" fmla="*/ 6352785 h 6858000"/>
              <a:gd name="connsiteX217" fmla="*/ 1533272 w 12191998"/>
              <a:gd name="connsiteY217" fmla="*/ 6347072 h 6858000"/>
              <a:gd name="connsiteX218" fmla="*/ 1517159 w 12191998"/>
              <a:gd name="connsiteY218" fmla="*/ 6342023 h 6858000"/>
              <a:gd name="connsiteX219" fmla="*/ 1507546 w 12191998"/>
              <a:gd name="connsiteY219" fmla="*/ 6339242 h 6858000"/>
              <a:gd name="connsiteX220" fmla="*/ 1503374 w 12191998"/>
              <a:gd name="connsiteY220" fmla="*/ 6336340 h 6858000"/>
              <a:gd name="connsiteX221" fmla="*/ 1502043 w 12191998"/>
              <a:gd name="connsiteY221" fmla="*/ 6332531 h 6858000"/>
              <a:gd name="connsiteX222" fmla="*/ 1505248 w 12191998"/>
              <a:gd name="connsiteY222" fmla="*/ 6326726 h 6858000"/>
              <a:gd name="connsiteX223" fmla="*/ 1515950 w 12191998"/>
              <a:gd name="connsiteY223" fmla="*/ 6324247 h 6858000"/>
              <a:gd name="connsiteX224" fmla="*/ 1525775 w 12191998"/>
              <a:gd name="connsiteY224" fmla="*/ 6327029 h 6858000"/>
              <a:gd name="connsiteX225" fmla="*/ 1529977 w 12191998"/>
              <a:gd name="connsiteY225" fmla="*/ 6334768 h 6858000"/>
              <a:gd name="connsiteX226" fmla="*/ 1540618 w 12191998"/>
              <a:gd name="connsiteY226" fmla="*/ 6333317 h 6858000"/>
              <a:gd name="connsiteX227" fmla="*/ 1536869 w 12191998"/>
              <a:gd name="connsiteY227" fmla="*/ 6323371 h 6858000"/>
              <a:gd name="connsiteX228" fmla="*/ 1528435 w 12191998"/>
              <a:gd name="connsiteY228" fmla="*/ 6317476 h 6858000"/>
              <a:gd name="connsiteX229" fmla="*/ 1515164 w 12191998"/>
              <a:gd name="connsiteY229" fmla="*/ 6315299 h 6858000"/>
              <a:gd name="connsiteX230" fmla="*/ 1479543 w 12191998"/>
              <a:gd name="connsiteY230" fmla="*/ 6315299 h 6858000"/>
              <a:gd name="connsiteX231" fmla="*/ 1472559 w 12191998"/>
              <a:gd name="connsiteY231" fmla="*/ 6317476 h 6858000"/>
              <a:gd name="connsiteX232" fmla="*/ 1465637 w 12191998"/>
              <a:gd name="connsiteY232" fmla="*/ 6326485 h 6858000"/>
              <a:gd name="connsiteX233" fmla="*/ 1465637 w 12191998"/>
              <a:gd name="connsiteY233" fmla="*/ 6316750 h 6858000"/>
              <a:gd name="connsiteX234" fmla="*/ 1455842 w 12191998"/>
              <a:gd name="connsiteY234" fmla="*/ 6316750 h 6858000"/>
              <a:gd name="connsiteX235" fmla="*/ 1455842 w 12191998"/>
              <a:gd name="connsiteY235" fmla="*/ 6380960 h 6858000"/>
              <a:gd name="connsiteX236" fmla="*/ 1466725 w 12191998"/>
              <a:gd name="connsiteY236" fmla="*/ 6380960 h 6858000"/>
              <a:gd name="connsiteX237" fmla="*/ 1466725 w 12191998"/>
              <a:gd name="connsiteY237" fmla="*/ 6347344 h 6858000"/>
              <a:gd name="connsiteX238" fmla="*/ 1468539 w 12191998"/>
              <a:gd name="connsiteY238" fmla="*/ 6334647 h 6858000"/>
              <a:gd name="connsiteX239" fmla="*/ 1472589 w 12191998"/>
              <a:gd name="connsiteY239" fmla="*/ 6328691 h 6858000"/>
              <a:gd name="connsiteX240" fmla="*/ 1478999 w 12191998"/>
              <a:gd name="connsiteY240" fmla="*/ 6326545 h 6858000"/>
              <a:gd name="connsiteX241" fmla="*/ 1486979 w 12191998"/>
              <a:gd name="connsiteY241" fmla="*/ 6328903 h 6858000"/>
              <a:gd name="connsiteX242" fmla="*/ 1490728 w 12191998"/>
              <a:gd name="connsiteY242" fmla="*/ 6318806 h 6858000"/>
              <a:gd name="connsiteX243" fmla="*/ 1479543 w 12191998"/>
              <a:gd name="connsiteY243" fmla="*/ 6315299 h 6858000"/>
              <a:gd name="connsiteX244" fmla="*/ 1416435 w 12191998"/>
              <a:gd name="connsiteY244" fmla="*/ 6315299 h 6858000"/>
              <a:gd name="connsiteX245" fmla="*/ 1401864 w 12191998"/>
              <a:gd name="connsiteY245" fmla="*/ 6317566 h 6858000"/>
              <a:gd name="connsiteX246" fmla="*/ 1392250 w 12191998"/>
              <a:gd name="connsiteY246" fmla="*/ 6324036 h 6858000"/>
              <a:gd name="connsiteX247" fmla="*/ 1387474 w 12191998"/>
              <a:gd name="connsiteY247" fmla="*/ 6335070 h 6858000"/>
              <a:gd name="connsiteX248" fmla="*/ 1398115 w 12191998"/>
              <a:gd name="connsiteY248" fmla="*/ 6336521 h 6858000"/>
              <a:gd name="connsiteX249" fmla="*/ 1403526 w 12191998"/>
              <a:gd name="connsiteY249" fmla="*/ 6326998 h 6858000"/>
              <a:gd name="connsiteX250" fmla="*/ 1414863 w 12191998"/>
              <a:gd name="connsiteY250" fmla="*/ 6324308 h 6858000"/>
              <a:gd name="connsiteX251" fmla="*/ 1427257 w 12191998"/>
              <a:gd name="connsiteY251" fmla="*/ 6327996 h 6858000"/>
              <a:gd name="connsiteX252" fmla="*/ 1430341 w 12191998"/>
              <a:gd name="connsiteY252" fmla="*/ 6337368 h 6858000"/>
              <a:gd name="connsiteX253" fmla="*/ 1430280 w 12191998"/>
              <a:gd name="connsiteY253" fmla="*/ 6340209 h 6858000"/>
              <a:gd name="connsiteX254" fmla="*/ 1410872 w 12191998"/>
              <a:gd name="connsiteY254" fmla="*/ 6343958 h 6858000"/>
              <a:gd name="connsiteX255" fmla="*/ 1401198 w 12191998"/>
              <a:gd name="connsiteY255" fmla="*/ 6345590 h 6858000"/>
              <a:gd name="connsiteX256" fmla="*/ 1393369 w 12191998"/>
              <a:gd name="connsiteY256" fmla="*/ 6349158 h 6858000"/>
              <a:gd name="connsiteX257" fmla="*/ 1387746 w 12191998"/>
              <a:gd name="connsiteY257" fmla="*/ 6355415 h 6858000"/>
              <a:gd name="connsiteX258" fmla="*/ 1385599 w 12191998"/>
              <a:gd name="connsiteY258" fmla="*/ 6364031 h 6858000"/>
              <a:gd name="connsiteX259" fmla="*/ 1391283 w 12191998"/>
              <a:gd name="connsiteY259" fmla="*/ 6377242 h 6858000"/>
              <a:gd name="connsiteX260" fmla="*/ 1407547 w 12191998"/>
              <a:gd name="connsiteY260" fmla="*/ 6382411 h 6858000"/>
              <a:gd name="connsiteX261" fmla="*/ 1419549 w 12191998"/>
              <a:gd name="connsiteY261" fmla="*/ 6380295 h 6858000"/>
              <a:gd name="connsiteX262" fmla="*/ 1431187 w 12191998"/>
              <a:gd name="connsiteY262" fmla="*/ 6373040 h 6858000"/>
              <a:gd name="connsiteX263" fmla="*/ 1433364 w 12191998"/>
              <a:gd name="connsiteY263" fmla="*/ 6380960 h 6858000"/>
              <a:gd name="connsiteX264" fmla="*/ 1444731 w 12191998"/>
              <a:gd name="connsiteY264" fmla="*/ 6380960 h 6858000"/>
              <a:gd name="connsiteX265" fmla="*/ 1441980 w 12191998"/>
              <a:gd name="connsiteY265" fmla="*/ 6373251 h 6858000"/>
              <a:gd name="connsiteX266" fmla="*/ 1441284 w 12191998"/>
              <a:gd name="connsiteY266" fmla="*/ 6354055 h 6858000"/>
              <a:gd name="connsiteX267" fmla="*/ 1441284 w 12191998"/>
              <a:gd name="connsiteY267" fmla="*/ 6339544 h 6858000"/>
              <a:gd name="connsiteX268" fmla="*/ 1440740 w 12191998"/>
              <a:gd name="connsiteY268" fmla="*/ 6329508 h 6858000"/>
              <a:gd name="connsiteX269" fmla="*/ 1437354 w 12191998"/>
              <a:gd name="connsiteY269" fmla="*/ 6322101 h 6858000"/>
              <a:gd name="connsiteX270" fmla="*/ 1429797 w 12191998"/>
              <a:gd name="connsiteY270" fmla="*/ 6317234 h 6858000"/>
              <a:gd name="connsiteX271" fmla="*/ 1416435 w 12191998"/>
              <a:gd name="connsiteY271" fmla="*/ 6315299 h 6858000"/>
              <a:gd name="connsiteX272" fmla="*/ 1167697 w 12191998"/>
              <a:gd name="connsiteY272" fmla="*/ 6315299 h 6858000"/>
              <a:gd name="connsiteX273" fmla="*/ 1147502 w 12191998"/>
              <a:gd name="connsiteY273" fmla="*/ 6322434 h 6858000"/>
              <a:gd name="connsiteX274" fmla="*/ 1137587 w 12191998"/>
              <a:gd name="connsiteY274" fmla="*/ 6348855 h 6858000"/>
              <a:gd name="connsiteX275" fmla="*/ 1145900 w 12191998"/>
              <a:gd name="connsiteY275" fmla="*/ 6373765 h 6858000"/>
              <a:gd name="connsiteX276" fmla="*/ 1167697 w 12191998"/>
              <a:gd name="connsiteY276" fmla="*/ 6382411 h 6858000"/>
              <a:gd name="connsiteX277" fmla="*/ 1183205 w 12191998"/>
              <a:gd name="connsiteY277" fmla="*/ 6378481 h 6858000"/>
              <a:gd name="connsiteX278" fmla="*/ 1194027 w 12191998"/>
              <a:gd name="connsiteY278" fmla="*/ 6367447 h 6858000"/>
              <a:gd name="connsiteX279" fmla="*/ 1197746 w 12191998"/>
              <a:gd name="connsiteY279" fmla="*/ 6347948 h 6858000"/>
              <a:gd name="connsiteX280" fmla="*/ 1189342 w 12191998"/>
              <a:gd name="connsiteY280" fmla="*/ 6323975 h 6858000"/>
              <a:gd name="connsiteX281" fmla="*/ 1167697 w 12191998"/>
              <a:gd name="connsiteY281" fmla="*/ 6315299 h 6858000"/>
              <a:gd name="connsiteX282" fmla="*/ 1057964 w 12191998"/>
              <a:gd name="connsiteY282" fmla="*/ 6315299 h 6858000"/>
              <a:gd name="connsiteX283" fmla="*/ 1048562 w 12191998"/>
              <a:gd name="connsiteY283" fmla="*/ 6316599 h 6858000"/>
              <a:gd name="connsiteX284" fmla="*/ 1041639 w 12191998"/>
              <a:gd name="connsiteY284" fmla="*/ 6319773 h 6858000"/>
              <a:gd name="connsiteX285" fmla="*/ 1036288 w 12191998"/>
              <a:gd name="connsiteY285" fmla="*/ 6325850 h 6858000"/>
              <a:gd name="connsiteX286" fmla="*/ 1034323 w 12191998"/>
              <a:gd name="connsiteY286" fmla="*/ 6333800 h 6858000"/>
              <a:gd name="connsiteX287" fmla="*/ 1036711 w 12191998"/>
              <a:gd name="connsiteY287" fmla="*/ 6342416 h 6858000"/>
              <a:gd name="connsiteX288" fmla="*/ 1043725 w 12191998"/>
              <a:gd name="connsiteY288" fmla="*/ 6348523 h 6858000"/>
              <a:gd name="connsiteX289" fmla="*/ 1060322 w 12191998"/>
              <a:gd name="connsiteY289" fmla="*/ 6353753 h 6858000"/>
              <a:gd name="connsiteX290" fmla="*/ 1071446 w 12191998"/>
              <a:gd name="connsiteY290" fmla="*/ 6357441 h 6858000"/>
              <a:gd name="connsiteX291" fmla="*/ 1074651 w 12191998"/>
              <a:gd name="connsiteY291" fmla="*/ 6363245 h 6858000"/>
              <a:gd name="connsiteX292" fmla="*/ 1071023 w 12191998"/>
              <a:gd name="connsiteY292" fmla="*/ 6370410 h 6858000"/>
              <a:gd name="connsiteX293" fmla="*/ 1059898 w 12191998"/>
              <a:gd name="connsiteY293" fmla="*/ 6373463 h 6858000"/>
              <a:gd name="connsiteX294" fmla="*/ 1048320 w 12191998"/>
              <a:gd name="connsiteY294" fmla="*/ 6370017 h 6858000"/>
              <a:gd name="connsiteX295" fmla="*/ 1043271 w 12191998"/>
              <a:gd name="connsiteY295" fmla="*/ 6360101 h 6858000"/>
              <a:gd name="connsiteX296" fmla="*/ 1032509 w 12191998"/>
              <a:gd name="connsiteY296" fmla="*/ 6361794 h 6858000"/>
              <a:gd name="connsiteX297" fmla="*/ 1040883 w 12191998"/>
              <a:gd name="connsiteY297" fmla="*/ 6377212 h 6858000"/>
              <a:gd name="connsiteX298" fmla="*/ 1059959 w 12191998"/>
              <a:gd name="connsiteY298" fmla="*/ 6382411 h 6858000"/>
              <a:gd name="connsiteX299" fmla="*/ 1073502 w 12191998"/>
              <a:gd name="connsiteY299" fmla="*/ 6379781 h 6858000"/>
              <a:gd name="connsiteX300" fmla="*/ 1082662 w 12191998"/>
              <a:gd name="connsiteY300" fmla="*/ 6372344 h 6858000"/>
              <a:gd name="connsiteX301" fmla="*/ 1085836 w 12191998"/>
              <a:gd name="connsiteY301" fmla="*/ 6362096 h 6858000"/>
              <a:gd name="connsiteX302" fmla="*/ 1083236 w 12191998"/>
              <a:gd name="connsiteY302" fmla="*/ 6352785 h 6858000"/>
              <a:gd name="connsiteX303" fmla="*/ 1076072 w 12191998"/>
              <a:gd name="connsiteY303" fmla="*/ 6347072 h 6858000"/>
              <a:gd name="connsiteX304" fmla="*/ 1059959 w 12191998"/>
              <a:gd name="connsiteY304" fmla="*/ 6342023 h 6858000"/>
              <a:gd name="connsiteX305" fmla="*/ 1050345 w 12191998"/>
              <a:gd name="connsiteY305" fmla="*/ 6339242 h 6858000"/>
              <a:gd name="connsiteX306" fmla="*/ 1046174 w 12191998"/>
              <a:gd name="connsiteY306" fmla="*/ 6336340 h 6858000"/>
              <a:gd name="connsiteX307" fmla="*/ 1044843 w 12191998"/>
              <a:gd name="connsiteY307" fmla="*/ 6332531 h 6858000"/>
              <a:gd name="connsiteX308" fmla="*/ 1048048 w 12191998"/>
              <a:gd name="connsiteY308" fmla="*/ 6326726 h 6858000"/>
              <a:gd name="connsiteX309" fmla="*/ 1058750 w 12191998"/>
              <a:gd name="connsiteY309" fmla="*/ 6324247 h 6858000"/>
              <a:gd name="connsiteX310" fmla="*/ 1068575 w 12191998"/>
              <a:gd name="connsiteY310" fmla="*/ 6327029 h 6858000"/>
              <a:gd name="connsiteX311" fmla="*/ 1072777 w 12191998"/>
              <a:gd name="connsiteY311" fmla="*/ 6334768 h 6858000"/>
              <a:gd name="connsiteX312" fmla="*/ 1083418 w 12191998"/>
              <a:gd name="connsiteY312" fmla="*/ 6333317 h 6858000"/>
              <a:gd name="connsiteX313" fmla="*/ 1079669 w 12191998"/>
              <a:gd name="connsiteY313" fmla="*/ 6323371 h 6858000"/>
              <a:gd name="connsiteX314" fmla="*/ 1071235 w 12191998"/>
              <a:gd name="connsiteY314" fmla="*/ 6317476 h 6858000"/>
              <a:gd name="connsiteX315" fmla="*/ 1057964 w 12191998"/>
              <a:gd name="connsiteY315" fmla="*/ 6315299 h 6858000"/>
              <a:gd name="connsiteX316" fmla="*/ 991289 w 12191998"/>
              <a:gd name="connsiteY316" fmla="*/ 6315299 h 6858000"/>
              <a:gd name="connsiteX317" fmla="*/ 981887 w 12191998"/>
              <a:gd name="connsiteY317" fmla="*/ 6316599 h 6858000"/>
              <a:gd name="connsiteX318" fmla="*/ 974964 w 12191998"/>
              <a:gd name="connsiteY318" fmla="*/ 6319773 h 6858000"/>
              <a:gd name="connsiteX319" fmla="*/ 969613 w 12191998"/>
              <a:gd name="connsiteY319" fmla="*/ 6325850 h 6858000"/>
              <a:gd name="connsiteX320" fmla="*/ 967648 w 12191998"/>
              <a:gd name="connsiteY320" fmla="*/ 6333800 h 6858000"/>
              <a:gd name="connsiteX321" fmla="*/ 970036 w 12191998"/>
              <a:gd name="connsiteY321" fmla="*/ 6342416 h 6858000"/>
              <a:gd name="connsiteX322" fmla="*/ 977050 w 12191998"/>
              <a:gd name="connsiteY322" fmla="*/ 6348523 h 6858000"/>
              <a:gd name="connsiteX323" fmla="*/ 993647 w 12191998"/>
              <a:gd name="connsiteY323" fmla="*/ 6353753 h 6858000"/>
              <a:gd name="connsiteX324" fmla="*/ 1004771 w 12191998"/>
              <a:gd name="connsiteY324" fmla="*/ 6357441 h 6858000"/>
              <a:gd name="connsiteX325" fmla="*/ 1007976 w 12191998"/>
              <a:gd name="connsiteY325" fmla="*/ 6363245 h 6858000"/>
              <a:gd name="connsiteX326" fmla="*/ 1004348 w 12191998"/>
              <a:gd name="connsiteY326" fmla="*/ 6370410 h 6858000"/>
              <a:gd name="connsiteX327" fmla="*/ 993223 w 12191998"/>
              <a:gd name="connsiteY327" fmla="*/ 6373463 h 6858000"/>
              <a:gd name="connsiteX328" fmla="*/ 981645 w 12191998"/>
              <a:gd name="connsiteY328" fmla="*/ 6370017 h 6858000"/>
              <a:gd name="connsiteX329" fmla="*/ 976597 w 12191998"/>
              <a:gd name="connsiteY329" fmla="*/ 6360101 h 6858000"/>
              <a:gd name="connsiteX330" fmla="*/ 965834 w 12191998"/>
              <a:gd name="connsiteY330" fmla="*/ 6361794 h 6858000"/>
              <a:gd name="connsiteX331" fmla="*/ 974208 w 12191998"/>
              <a:gd name="connsiteY331" fmla="*/ 6377212 h 6858000"/>
              <a:gd name="connsiteX332" fmla="*/ 993284 w 12191998"/>
              <a:gd name="connsiteY332" fmla="*/ 6382411 h 6858000"/>
              <a:gd name="connsiteX333" fmla="*/ 1006827 w 12191998"/>
              <a:gd name="connsiteY333" fmla="*/ 6379781 h 6858000"/>
              <a:gd name="connsiteX334" fmla="*/ 1015987 w 12191998"/>
              <a:gd name="connsiteY334" fmla="*/ 6372344 h 6858000"/>
              <a:gd name="connsiteX335" fmla="*/ 1019161 w 12191998"/>
              <a:gd name="connsiteY335" fmla="*/ 6362096 h 6858000"/>
              <a:gd name="connsiteX336" fmla="*/ 1016561 w 12191998"/>
              <a:gd name="connsiteY336" fmla="*/ 6352785 h 6858000"/>
              <a:gd name="connsiteX337" fmla="*/ 1009397 w 12191998"/>
              <a:gd name="connsiteY337" fmla="*/ 6347072 h 6858000"/>
              <a:gd name="connsiteX338" fmla="*/ 993284 w 12191998"/>
              <a:gd name="connsiteY338" fmla="*/ 6342023 h 6858000"/>
              <a:gd name="connsiteX339" fmla="*/ 983670 w 12191998"/>
              <a:gd name="connsiteY339" fmla="*/ 6339242 h 6858000"/>
              <a:gd name="connsiteX340" fmla="*/ 979499 w 12191998"/>
              <a:gd name="connsiteY340" fmla="*/ 6336340 h 6858000"/>
              <a:gd name="connsiteX341" fmla="*/ 978169 w 12191998"/>
              <a:gd name="connsiteY341" fmla="*/ 6332531 h 6858000"/>
              <a:gd name="connsiteX342" fmla="*/ 981373 w 12191998"/>
              <a:gd name="connsiteY342" fmla="*/ 6326726 h 6858000"/>
              <a:gd name="connsiteX343" fmla="*/ 992075 w 12191998"/>
              <a:gd name="connsiteY343" fmla="*/ 6324247 h 6858000"/>
              <a:gd name="connsiteX344" fmla="*/ 1001899 w 12191998"/>
              <a:gd name="connsiteY344" fmla="*/ 6327029 h 6858000"/>
              <a:gd name="connsiteX345" fmla="*/ 1006102 w 12191998"/>
              <a:gd name="connsiteY345" fmla="*/ 6334768 h 6858000"/>
              <a:gd name="connsiteX346" fmla="*/ 1016743 w 12191998"/>
              <a:gd name="connsiteY346" fmla="*/ 6333317 h 6858000"/>
              <a:gd name="connsiteX347" fmla="*/ 1012994 w 12191998"/>
              <a:gd name="connsiteY347" fmla="*/ 6323371 h 6858000"/>
              <a:gd name="connsiteX348" fmla="*/ 1004560 w 12191998"/>
              <a:gd name="connsiteY348" fmla="*/ 6317476 h 6858000"/>
              <a:gd name="connsiteX349" fmla="*/ 991289 w 12191998"/>
              <a:gd name="connsiteY349" fmla="*/ 6315299 h 6858000"/>
              <a:gd name="connsiteX350" fmla="*/ 929874 w 12191998"/>
              <a:gd name="connsiteY350" fmla="*/ 6315299 h 6858000"/>
              <a:gd name="connsiteX351" fmla="*/ 908228 w 12191998"/>
              <a:gd name="connsiteY351" fmla="*/ 6324247 h 6858000"/>
              <a:gd name="connsiteX352" fmla="*/ 899885 w 12191998"/>
              <a:gd name="connsiteY352" fmla="*/ 6349399 h 6858000"/>
              <a:gd name="connsiteX353" fmla="*/ 908138 w 12191998"/>
              <a:gd name="connsiteY353" fmla="*/ 6373735 h 6858000"/>
              <a:gd name="connsiteX354" fmla="*/ 930478 w 12191998"/>
              <a:gd name="connsiteY354" fmla="*/ 6382411 h 6858000"/>
              <a:gd name="connsiteX355" fmla="*/ 948859 w 12191998"/>
              <a:gd name="connsiteY355" fmla="*/ 6376970 h 6858000"/>
              <a:gd name="connsiteX356" fmla="*/ 958714 w 12191998"/>
              <a:gd name="connsiteY356" fmla="*/ 6361673 h 6858000"/>
              <a:gd name="connsiteX357" fmla="*/ 947468 w 12191998"/>
              <a:gd name="connsiteY357" fmla="*/ 6360282 h 6858000"/>
              <a:gd name="connsiteX358" fmla="*/ 940757 w 12191998"/>
              <a:gd name="connsiteY358" fmla="*/ 6370319 h 6858000"/>
              <a:gd name="connsiteX359" fmla="*/ 930539 w 12191998"/>
              <a:gd name="connsiteY359" fmla="*/ 6373463 h 6858000"/>
              <a:gd name="connsiteX360" fmla="*/ 917116 w 12191998"/>
              <a:gd name="connsiteY360" fmla="*/ 6367840 h 6858000"/>
              <a:gd name="connsiteX361" fmla="*/ 911131 w 12191998"/>
              <a:gd name="connsiteY361" fmla="*/ 6351636 h 6858000"/>
              <a:gd name="connsiteX362" fmla="*/ 959016 w 12191998"/>
              <a:gd name="connsiteY362" fmla="*/ 6351636 h 6858000"/>
              <a:gd name="connsiteX363" fmla="*/ 959077 w 12191998"/>
              <a:gd name="connsiteY363" fmla="*/ 6348734 h 6858000"/>
              <a:gd name="connsiteX364" fmla="*/ 950914 w 12191998"/>
              <a:gd name="connsiteY364" fmla="*/ 6324066 h 6858000"/>
              <a:gd name="connsiteX365" fmla="*/ 929874 w 12191998"/>
              <a:gd name="connsiteY365" fmla="*/ 6315299 h 6858000"/>
              <a:gd name="connsiteX366" fmla="*/ 867068 w 12191998"/>
              <a:gd name="connsiteY366" fmla="*/ 6315299 h 6858000"/>
              <a:gd name="connsiteX367" fmla="*/ 846632 w 12191998"/>
              <a:gd name="connsiteY367" fmla="*/ 6325880 h 6858000"/>
              <a:gd name="connsiteX368" fmla="*/ 846632 w 12191998"/>
              <a:gd name="connsiteY368" fmla="*/ 6316750 h 6858000"/>
              <a:gd name="connsiteX369" fmla="*/ 836838 w 12191998"/>
              <a:gd name="connsiteY369" fmla="*/ 6316750 h 6858000"/>
              <a:gd name="connsiteX370" fmla="*/ 836838 w 12191998"/>
              <a:gd name="connsiteY370" fmla="*/ 6380960 h 6858000"/>
              <a:gd name="connsiteX371" fmla="*/ 847721 w 12191998"/>
              <a:gd name="connsiteY371" fmla="*/ 6380960 h 6858000"/>
              <a:gd name="connsiteX372" fmla="*/ 847721 w 12191998"/>
              <a:gd name="connsiteY372" fmla="*/ 6345893 h 6858000"/>
              <a:gd name="connsiteX373" fmla="*/ 852769 w 12191998"/>
              <a:gd name="connsiteY373" fmla="*/ 6329145 h 6858000"/>
              <a:gd name="connsiteX374" fmla="*/ 864771 w 12191998"/>
              <a:gd name="connsiteY374" fmla="*/ 6324731 h 6858000"/>
              <a:gd name="connsiteX375" fmla="*/ 872359 w 12191998"/>
              <a:gd name="connsiteY375" fmla="*/ 6326696 h 6858000"/>
              <a:gd name="connsiteX376" fmla="*/ 876863 w 12191998"/>
              <a:gd name="connsiteY376" fmla="*/ 6331956 h 6858000"/>
              <a:gd name="connsiteX377" fmla="*/ 878133 w 12191998"/>
              <a:gd name="connsiteY377" fmla="*/ 6341902 h 6858000"/>
              <a:gd name="connsiteX378" fmla="*/ 878133 w 12191998"/>
              <a:gd name="connsiteY378" fmla="*/ 6380960 h 6858000"/>
              <a:gd name="connsiteX379" fmla="*/ 889016 w 12191998"/>
              <a:gd name="connsiteY379" fmla="*/ 6380960 h 6858000"/>
              <a:gd name="connsiteX380" fmla="*/ 889016 w 12191998"/>
              <a:gd name="connsiteY380" fmla="*/ 6341479 h 6858000"/>
              <a:gd name="connsiteX381" fmla="*/ 888411 w 12191998"/>
              <a:gd name="connsiteY381" fmla="*/ 6330898 h 6858000"/>
              <a:gd name="connsiteX382" fmla="*/ 885025 w 12191998"/>
              <a:gd name="connsiteY382" fmla="*/ 6322857 h 6858000"/>
              <a:gd name="connsiteX383" fmla="*/ 877740 w 12191998"/>
              <a:gd name="connsiteY383" fmla="*/ 6317385 h 6858000"/>
              <a:gd name="connsiteX384" fmla="*/ 867068 w 12191998"/>
              <a:gd name="connsiteY384" fmla="*/ 6315299 h 6858000"/>
              <a:gd name="connsiteX385" fmla="*/ 762689 w 12191998"/>
              <a:gd name="connsiteY385" fmla="*/ 6315299 h 6858000"/>
              <a:gd name="connsiteX386" fmla="*/ 753287 w 12191998"/>
              <a:gd name="connsiteY386" fmla="*/ 6316599 h 6858000"/>
              <a:gd name="connsiteX387" fmla="*/ 746364 w 12191998"/>
              <a:gd name="connsiteY387" fmla="*/ 6319773 h 6858000"/>
              <a:gd name="connsiteX388" fmla="*/ 741013 w 12191998"/>
              <a:gd name="connsiteY388" fmla="*/ 6325850 h 6858000"/>
              <a:gd name="connsiteX389" fmla="*/ 739048 w 12191998"/>
              <a:gd name="connsiteY389" fmla="*/ 6333800 h 6858000"/>
              <a:gd name="connsiteX390" fmla="*/ 741436 w 12191998"/>
              <a:gd name="connsiteY390" fmla="*/ 6342416 h 6858000"/>
              <a:gd name="connsiteX391" fmla="*/ 748450 w 12191998"/>
              <a:gd name="connsiteY391" fmla="*/ 6348523 h 6858000"/>
              <a:gd name="connsiteX392" fmla="*/ 765047 w 12191998"/>
              <a:gd name="connsiteY392" fmla="*/ 6353753 h 6858000"/>
              <a:gd name="connsiteX393" fmla="*/ 776171 w 12191998"/>
              <a:gd name="connsiteY393" fmla="*/ 6357441 h 6858000"/>
              <a:gd name="connsiteX394" fmla="*/ 779376 w 12191998"/>
              <a:gd name="connsiteY394" fmla="*/ 6363245 h 6858000"/>
              <a:gd name="connsiteX395" fmla="*/ 775748 w 12191998"/>
              <a:gd name="connsiteY395" fmla="*/ 6370410 h 6858000"/>
              <a:gd name="connsiteX396" fmla="*/ 764623 w 12191998"/>
              <a:gd name="connsiteY396" fmla="*/ 6373463 h 6858000"/>
              <a:gd name="connsiteX397" fmla="*/ 753045 w 12191998"/>
              <a:gd name="connsiteY397" fmla="*/ 6370017 h 6858000"/>
              <a:gd name="connsiteX398" fmla="*/ 747996 w 12191998"/>
              <a:gd name="connsiteY398" fmla="*/ 6360101 h 6858000"/>
              <a:gd name="connsiteX399" fmla="*/ 737234 w 12191998"/>
              <a:gd name="connsiteY399" fmla="*/ 6361794 h 6858000"/>
              <a:gd name="connsiteX400" fmla="*/ 745608 w 12191998"/>
              <a:gd name="connsiteY400" fmla="*/ 6377212 h 6858000"/>
              <a:gd name="connsiteX401" fmla="*/ 764684 w 12191998"/>
              <a:gd name="connsiteY401" fmla="*/ 6382411 h 6858000"/>
              <a:gd name="connsiteX402" fmla="*/ 778227 w 12191998"/>
              <a:gd name="connsiteY402" fmla="*/ 6379781 h 6858000"/>
              <a:gd name="connsiteX403" fmla="*/ 787387 w 12191998"/>
              <a:gd name="connsiteY403" fmla="*/ 6372344 h 6858000"/>
              <a:gd name="connsiteX404" fmla="*/ 790561 w 12191998"/>
              <a:gd name="connsiteY404" fmla="*/ 6362096 h 6858000"/>
              <a:gd name="connsiteX405" fmla="*/ 787961 w 12191998"/>
              <a:gd name="connsiteY405" fmla="*/ 6352785 h 6858000"/>
              <a:gd name="connsiteX406" fmla="*/ 780797 w 12191998"/>
              <a:gd name="connsiteY406" fmla="*/ 6347072 h 6858000"/>
              <a:gd name="connsiteX407" fmla="*/ 764684 w 12191998"/>
              <a:gd name="connsiteY407" fmla="*/ 6342023 h 6858000"/>
              <a:gd name="connsiteX408" fmla="*/ 755070 w 12191998"/>
              <a:gd name="connsiteY408" fmla="*/ 6339242 h 6858000"/>
              <a:gd name="connsiteX409" fmla="*/ 750899 w 12191998"/>
              <a:gd name="connsiteY409" fmla="*/ 6336340 h 6858000"/>
              <a:gd name="connsiteX410" fmla="*/ 749568 w 12191998"/>
              <a:gd name="connsiteY410" fmla="*/ 6332531 h 6858000"/>
              <a:gd name="connsiteX411" fmla="*/ 752773 w 12191998"/>
              <a:gd name="connsiteY411" fmla="*/ 6326726 h 6858000"/>
              <a:gd name="connsiteX412" fmla="*/ 763475 w 12191998"/>
              <a:gd name="connsiteY412" fmla="*/ 6324247 h 6858000"/>
              <a:gd name="connsiteX413" fmla="*/ 773300 w 12191998"/>
              <a:gd name="connsiteY413" fmla="*/ 6327029 h 6858000"/>
              <a:gd name="connsiteX414" fmla="*/ 777502 w 12191998"/>
              <a:gd name="connsiteY414" fmla="*/ 6334768 h 6858000"/>
              <a:gd name="connsiteX415" fmla="*/ 788143 w 12191998"/>
              <a:gd name="connsiteY415" fmla="*/ 6333317 h 6858000"/>
              <a:gd name="connsiteX416" fmla="*/ 784394 w 12191998"/>
              <a:gd name="connsiteY416" fmla="*/ 6323371 h 6858000"/>
              <a:gd name="connsiteX417" fmla="*/ 775960 w 12191998"/>
              <a:gd name="connsiteY417" fmla="*/ 6317476 h 6858000"/>
              <a:gd name="connsiteX418" fmla="*/ 762689 w 12191998"/>
              <a:gd name="connsiteY418" fmla="*/ 6315299 h 6858000"/>
              <a:gd name="connsiteX419" fmla="*/ 525680 w 12191998"/>
              <a:gd name="connsiteY419" fmla="*/ 6301635 h 6858000"/>
              <a:gd name="connsiteX420" fmla="*/ 531968 w 12191998"/>
              <a:gd name="connsiteY420" fmla="*/ 6320015 h 6858000"/>
              <a:gd name="connsiteX421" fmla="*/ 541218 w 12191998"/>
              <a:gd name="connsiteY421" fmla="*/ 6344562 h 6858000"/>
              <a:gd name="connsiteX422" fmla="*/ 511169 w 12191998"/>
              <a:gd name="connsiteY422" fmla="*/ 6344562 h 6858000"/>
              <a:gd name="connsiteX423" fmla="*/ 520903 w 12191998"/>
              <a:gd name="connsiteY423" fmla="*/ 6318564 h 6858000"/>
              <a:gd name="connsiteX424" fmla="*/ 525680 w 12191998"/>
              <a:gd name="connsiteY424" fmla="*/ 6301635 h 6858000"/>
              <a:gd name="connsiteX425" fmla="*/ 1847395 w 12191998"/>
              <a:gd name="connsiteY425" fmla="*/ 6292324 h 6858000"/>
              <a:gd name="connsiteX426" fmla="*/ 1847395 w 12191998"/>
              <a:gd name="connsiteY426" fmla="*/ 6380960 h 6858000"/>
              <a:gd name="connsiteX427" fmla="*/ 1902777 w 12191998"/>
              <a:gd name="connsiteY427" fmla="*/ 6380960 h 6858000"/>
              <a:gd name="connsiteX428" fmla="*/ 1902777 w 12191998"/>
              <a:gd name="connsiteY428" fmla="*/ 6370500 h 6858000"/>
              <a:gd name="connsiteX429" fmla="*/ 1859124 w 12191998"/>
              <a:gd name="connsiteY429" fmla="*/ 6370500 h 6858000"/>
              <a:gd name="connsiteX430" fmla="*/ 1859124 w 12191998"/>
              <a:gd name="connsiteY430" fmla="*/ 6292324 h 6858000"/>
              <a:gd name="connsiteX431" fmla="*/ 1676066 w 12191998"/>
              <a:gd name="connsiteY431" fmla="*/ 6292324 h 6858000"/>
              <a:gd name="connsiteX432" fmla="*/ 1676066 w 12191998"/>
              <a:gd name="connsiteY432" fmla="*/ 6380960 h 6858000"/>
              <a:gd name="connsiteX433" fmla="*/ 1687372 w 12191998"/>
              <a:gd name="connsiteY433" fmla="*/ 6380960 h 6858000"/>
              <a:gd name="connsiteX434" fmla="*/ 1687372 w 12191998"/>
              <a:gd name="connsiteY434" fmla="*/ 6305504 h 6858000"/>
              <a:gd name="connsiteX435" fmla="*/ 1713007 w 12191998"/>
              <a:gd name="connsiteY435" fmla="*/ 6380960 h 6858000"/>
              <a:gd name="connsiteX436" fmla="*/ 1723588 w 12191998"/>
              <a:gd name="connsiteY436" fmla="*/ 6380960 h 6858000"/>
              <a:gd name="connsiteX437" fmla="*/ 1749345 w 12191998"/>
              <a:gd name="connsiteY437" fmla="*/ 6306774 h 6858000"/>
              <a:gd name="connsiteX438" fmla="*/ 1749345 w 12191998"/>
              <a:gd name="connsiteY438" fmla="*/ 6380960 h 6858000"/>
              <a:gd name="connsiteX439" fmla="*/ 1760651 w 12191998"/>
              <a:gd name="connsiteY439" fmla="*/ 6380960 h 6858000"/>
              <a:gd name="connsiteX440" fmla="*/ 1760651 w 12191998"/>
              <a:gd name="connsiteY440" fmla="*/ 6292324 h 6858000"/>
              <a:gd name="connsiteX441" fmla="*/ 1744871 w 12191998"/>
              <a:gd name="connsiteY441" fmla="*/ 6292324 h 6858000"/>
              <a:gd name="connsiteX442" fmla="*/ 1723649 w 12191998"/>
              <a:gd name="connsiteY442" fmla="*/ 6353994 h 6858000"/>
              <a:gd name="connsiteX443" fmla="*/ 1718932 w 12191998"/>
              <a:gd name="connsiteY443" fmla="*/ 6368203 h 6858000"/>
              <a:gd name="connsiteX444" fmla="*/ 1714700 w 12191998"/>
              <a:gd name="connsiteY444" fmla="*/ 6355083 h 6858000"/>
              <a:gd name="connsiteX445" fmla="*/ 1693720 w 12191998"/>
              <a:gd name="connsiteY445" fmla="*/ 6292324 h 6858000"/>
              <a:gd name="connsiteX446" fmla="*/ 1560738 w 12191998"/>
              <a:gd name="connsiteY446" fmla="*/ 6292324 h 6858000"/>
              <a:gd name="connsiteX447" fmla="*/ 1560738 w 12191998"/>
              <a:gd name="connsiteY447" fmla="*/ 6380960 h 6858000"/>
              <a:gd name="connsiteX448" fmla="*/ 1571621 w 12191998"/>
              <a:gd name="connsiteY448" fmla="*/ 6380960 h 6858000"/>
              <a:gd name="connsiteX449" fmla="*/ 1571621 w 12191998"/>
              <a:gd name="connsiteY449" fmla="*/ 6345832 h 6858000"/>
              <a:gd name="connsiteX450" fmla="*/ 1573434 w 12191998"/>
              <a:gd name="connsiteY450" fmla="*/ 6333982 h 6858000"/>
              <a:gd name="connsiteX451" fmla="*/ 1579511 w 12191998"/>
              <a:gd name="connsiteY451" fmla="*/ 6327180 h 6858000"/>
              <a:gd name="connsiteX452" fmla="*/ 1588610 w 12191998"/>
              <a:gd name="connsiteY452" fmla="*/ 6324671 h 6858000"/>
              <a:gd name="connsiteX453" fmla="*/ 1598617 w 12191998"/>
              <a:gd name="connsiteY453" fmla="*/ 6328389 h 6858000"/>
              <a:gd name="connsiteX454" fmla="*/ 1602154 w 12191998"/>
              <a:gd name="connsiteY454" fmla="*/ 6340270 h 6858000"/>
              <a:gd name="connsiteX455" fmla="*/ 1602154 w 12191998"/>
              <a:gd name="connsiteY455" fmla="*/ 6380960 h 6858000"/>
              <a:gd name="connsiteX456" fmla="*/ 1613037 w 12191998"/>
              <a:gd name="connsiteY456" fmla="*/ 6380960 h 6858000"/>
              <a:gd name="connsiteX457" fmla="*/ 1613037 w 12191998"/>
              <a:gd name="connsiteY457" fmla="*/ 6340270 h 6858000"/>
              <a:gd name="connsiteX458" fmla="*/ 1610770 w 12191998"/>
              <a:gd name="connsiteY458" fmla="*/ 6325880 h 6858000"/>
              <a:gd name="connsiteX459" fmla="*/ 1603242 w 12191998"/>
              <a:gd name="connsiteY459" fmla="*/ 6318111 h 6858000"/>
              <a:gd name="connsiteX460" fmla="*/ 1590847 w 12191998"/>
              <a:gd name="connsiteY460" fmla="*/ 6315299 h 6858000"/>
              <a:gd name="connsiteX461" fmla="*/ 1571621 w 12191998"/>
              <a:gd name="connsiteY461" fmla="*/ 6324127 h 6858000"/>
              <a:gd name="connsiteX462" fmla="*/ 1571621 w 12191998"/>
              <a:gd name="connsiteY462" fmla="*/ 6292324 h 6858000"/>
              <a:gd name="connsiteX463" fmla="*/ 1285541 w 12191998"/>
              <a:gd name="connsiteY463" fmla="*/ 6292324 h 6858000"/>
              <a:gd name="connsiteX464" fmla="*/ 1285541 w 12191998"/>
              <a:gd name="connsiteY464" fmla="*/ 6380960 h 6858000"/>
              <a:gd name="connsiteX465" fmla="*/ 1296847 w 12191998"/>
              <a:gd name="connsiteY465" fmla="*/ 6380960 h 6858000"/>
              <a:gd name="connsiteX466" fmla="*/ 1296847 w 12191998"/>
              <a:gd name="connsiteY466" fmla="*/ 6305504 h 6858000"/>
              <a:gd name="connsiteX467" fmla="*/ 1322483 w 12191998"/>
              <a:gd name="connsiteY467" fmla="*/ 6380960 h 6858000"/>
              <a:gd name="connsiteX468" fmla="*/ 1333063 w 12191998"/>
              <a:gd name="connsiteY468" fmla="*/ 6380960 h 6858000"/>
              <a:gd name="connsiteX469" fmla="*/ 1358820 w 12191998"/>
              <a:gd name="connsiteY469" fmla="*/ 6306774 h 6858000"/>
              <a:gd name="connsiteX470" fmla="*/ 1358820 w 12191998"/>
              <a:gd name="connsiteY470" fmla="*/ 6380960 h 6858000"/>
              <a:gd name="connsiteX471" fmla="*/ 1370126 w 12191998"/>
              <a:gd name="connsiteY471" fmla="*/ 6380960 h 6858000"/>
              <a:gd name="connsiteX472" fmla="*/ 1370126 w 12191998"/>
              <a:gd name="connsiteY472" fmla="*/ 6292324 h 6858000"/>
              <a:gd name="connsiteX473" fmla="*/ 1354346 w 12191998"/>
              <a:gd name="connsiteY473" fmla="*/ 6292324 h 6858000"/>
              <a:gd name="connsiteX474" fmla="*/ 1333124 w 12191998"/>
              <a:gd name="connsiteY474" fmla="*/ 6353994 h 6858000"/>
              <a:gd name="connsiteX475" fmla="*/ 1328408 w 12191998"/>
              <a:gd name="connsiteY475" fmla="*/ 6368203 h 6858000"/>
              <a:gd name="connsiteX476" fmla="*/ 1324175 w 12191998"/>
              <a:gd name="connsiteY476" fmla="*/ 6355083 h 6858000"/>
              <a:gd name="connsiteX477" fmla="*/ 1303195 w 12191998"/>
              <a:gd name="connsiteY477" fmla="*/ 6292324 h 6858000"/>
              <a:gd name="connsiteX478" fmla="*/ 808323 w 12191998"/>
              <a:gd name="connsiteY478" fmla="*/ 6292324 h 6858000"/>
              <a:gd name="connsiteX479" fmla="*/ 808323 w 12191998"/>
              <a:gd name="connsiteY479" fmla="*/ 6304839 h 6858000"/>
              <a:gd name="connsiteX480" fmla="*/ 819206 w 12191998"/>
              <a:gd name="connsiteY480" fmla="*/ 6304839 h 6858000"/>
              <a:gd name="connsiteX481" fmla="*/ 819206 w 12191998"/>
              <a:gd name="connsiteY481" fmla="*/ 6292324 h 6858000"/>
              <a:gd name="connsiteX482" fmla="*/ 608177 w 12191998"/>
              <a:gd name="connsiteY482" fmla="*/ 6292324 h 6858000"/>
              <a:gd name="connsiteX483" fmla="*/ 608177 w 12191998"/>
              <a:gd name="connsiteY483" fmla="*/ 6380960 h 6858000"/>
              <a:gd name="connsiteX484" fmla="*/ 618274 w 12191998"/>
              <a:gd name="connsiteY484" fmla="*/ 6380960 h 6858000"/>
              <a:gd name="connsiteX485" fmla="*/ 618274 w 12191998"/>
              <a:gd name="connsiteY485" fmla="*/ 6372919 h 6858000"/>
              <a:gd name="connsiteX486" fmla="*/ 636110 w 12191998"/>
              <a:gd name="connsiteY486" fmla="*/ 6382411 h 6858000"/>
              <a:gd name="connsiteX487" fmla="*/ 655700 w 12191998"/>
              <a:gd name="connsiteY487" fmla="*/ 6373403 h 6858000"/>
              <a:gd name="connsiteX488" fmla="*/ 663862 w 12191998"/>
              <a:gd name="connsiteY488" fmla="*/ 6347888 h 6858000"/>
              <a:gd name="connsiteX489" fmla="*/ 661927 w 12191998"/>
              <a:gd name="connsiteY489" fmla="*/ 6334828 h 6858000"/>
              <a:gd name="connsiteX490" fmla="*/ 656576 w 12191998"/>
              <a:gd name="connsiteY490" fmla="*/ 6324399 h 6858000"/>
              <a:gd name="connsiteX491" fmla="*/ 647870 w 12191998"/>
              <a:gd name="connsiteY491" fmla="*/ 6317687 h 6858000"/>
              <a:gd name="connsiteX492" fmla="*/ 636654 w 12191998"/>
              <a:gd name="connsiteY492" fmla="*/ 6315299 h 6858000"/>
              <a:gd name="connsiteX493" fmla="*/ 619060 w 12191998"/>
              <a:gd name="connsiteY493" fmla="*/ 6323945 h 6858000"/>
              <a:gd name="connsiteX494" fmla="*/ 619060 w 12191998"/>
              <a:gd name="connsiteY494" fmla="*/ 6292324 h 6858000"/>
              <a:gd name="connsiteX495" fmla="*/ 519634 w 12191998"/>
              <a:gd name="connsiteY495" fmla="*/ 6292324 h 6858000"/>
              <a:gd name="connsiteX496" fmla="*/ 485594 w 12191998"/>
              <a:gd name="connsiteY496" fmla="*/ 6380960 h 6858000"/>
              <a:gd name="connsiteX497" fmla="*/ 498049 w 12191998"/>
              <a:gd name="connsiteY497" fmla="*/ 6380960 h 6858000"/>
              <a:gd name="connsiteX498" fmla="*/ 507783 w 12191998"/>
              <a:gd name="connsiteY498" fmla="*/ 6354115 h 6858000"/>
              <a:gd name="connsiteX499" fmla="*/ 544846 w 12191998"/>
              <a:gd name="connsiteY499" fmla="*/ 6354115 h 6858000"/>
              <a:gd name="connsiteX500" fmla="*/ 555185 w 12191998"/>
              <a:gd name="connsiteY500" fmla="*/ 6380960 h 6858000"/>
              <a:gd name="connsiteX501" fmla="*/ 568547 w 12191998"/>
              <a:gd name="connsiteY501" fmla="*/ 6380960 h 6858000"/>
              <a:gd name="connsiteX502" fmla="*/ 532270 w 12191998"/>
              <a:gd name="connsiteY502" fmla="*/ 6292324 h 6858000"/>
              <a:gd name="connsiteX503" fmla="*/ 1228688 w 12191998"/>
              <a:gd name="connsiteY503" fmla="*/ 6290812 h 6858000"/>
              <a:gd name="connsiteX504" fmla="*/ 1217593 w 12191998"/>
              <a:gd name="connsiteY504" fmla="*/ 6293442 h 6858000"/>
              <a:gd name="connsiteX505" fmla="*/ 1212061 w 12191998"/>
              <a:gd name="connsiteY505" fmla="*/ 6300305 h 6858000"/>
              <a:gd name="connsiteX506" fmla="*/ 1210913 w 12191998"/>
              <a:gd name="connsiteY506" fmla="*/ 6309918 h 6858000"/>
              <a:gd name="connsiteX507" fmla="*/ 1210913 w 12191998"/>
              <a:gd name="connsiteY507" fmla="*/ 6316750 h 6858000"/>
              <a:gd name="connsiteX508" fmla="*/ 1201299 w 12191998"/>
              <a:gd name="connsiteY508" fmla="*/ 6316750 h 6858000"/>
              <a:gd name="connsiteX509" fmla="*/ 1201299 w 12191998"/>
              <a:gd name="connsiteY509" fmla="*/ 6325215 h 6858000"/>
              <a:gd name="connsiteX510" fmla="*/ 1210913 w 12191998"/>
              <a:gd name="connsiteY510" fmla="*/ 6325215 h 6858000"/>
              <a:gd name="connsiteX511" fmla="*/ 1210913 w 12191998"/>
              <a:gd name="connsiteY511" fmla="*/ 6380960 h 6858000"/>
              <a:gd name="connsiteX512" fmla="*/ 1221735 w 12191998"/>
              <a:gd name="connsiteY512" fmla="*/ 6380960 h 6858000"/>
              <a:gd name="connsiteX513" fmla="*/ 1221735 w 12191998"/>
              <a:gd name="connsiteY513" fmla="*/ 6325215 h 6858000"/>
              <a:gd name="connsiteX514" fmla="*/ 1234251 w 12191998"/>
              <a:gd name="connsiteY514" fmla="*/ 6325215 h 6858000"/>
              <a:gd name="connsiteX515" fmla="*/ 1234251 w 12191998"/>
              <a:gd name="connsiteY515" fmla="*/ 6316750 h 6858000"/>
              <a:gd name="connsiteX516" fmla="*/ 1221735 w 12191998"/>
              <a:gd name="connsiteY516" fmla="*/ 6316750 h 6858000"/>
              <a:gd name="connsiteX517" fmla="*/ 1221735 w 12191998"/>
              <a:gd name="connsiteY517" fmla="*/ 6310825 h 6858000"/>
              <a:gd name="connsiteX518" fmla="*/ 1223791 w 12191998"/>
              <a:gd name="connsiteY518" fmla="*/ 6302905 h 6858000"/>
              <a:gd name="connsiteX519" fmla="*/ 1230804 w 12191998"/>
              <a:gd name="connsiteY519" fmla="*/ 6300788 h 6858000"/>
              <a:gd name="connsiteX520" fmla="*/ 1237213 w 12191998"/>
              <a:gd name="connsiteY520" fmla="*/ 6301393 h 6858000"/>
              <a:gd name="connsiteX521" fmla="*/ 1238846 w 12191998"/>
              <a:gd name="connsiteY521" fmla="*/ 6291901 h 6858000"/>
              <a:gd name="connsiteX522" fmla="*/ 1228688 w 12191998"/>
              <a:gd name="connsiteY522" fmla="*/ 6290812 h 6858000"/>
              <a:gd name="connsiteX523" fmla="*/ 2096894 w 12191998"/>
              <a:gd name="connsiteY523" fmla="*/ 521338 h 6858000"/>
              <a:gd name="connsiteX524" fmla="*/ 2138859 w 12191998"/>
              <a:gd name="connsiteY524" fmla="*/ 529890 h 6858000"/>
              <a:gd name="connsiteX525" fmla="*/ 2124714 w 12191998"/>
              <a:gd name="connsiteY525" fmla="*/ 568373 h 6858000"/>
              <a:gd name="connsiteX526" fmla="*/ 2088878 w 12191998"/>
              <a:gd name="connsiteY526" fmla="*/ 581675 h 6858000"/>
              <a:gd name="connsiteX527" fmla="*/ 2063416 w 12191998"/>
              <a:gd name="connsiteY527" fmla="*/ 574074 h 6858000"/>
              <a:gd name="connsiteX528" fmla="*/ 2054457 w 12191998"/>
              <a:gd name="connsiteY528" fmla="*/ 552219 h 6858000"/>
              <a:gd name="connsiteX529" fmla="*/ 2064831 w 12191998"/>
              <a:gd name="connsiteY529" fmla="*/ 529415 h 6858000"/>
              <a:gd name="connsiteX530" fmla="*/ 2096894 w 12191998"/>
              <a:gd name="connsiteY530" fmla="*/ 521338 h 6858000"/>
              <a:gd name="connsiteX531" fmla="*/ 2478849 w 12191998"/>
              <a:gd name="connsiteY531" fmla="*/ 452281 h 6858000"/>
              <a:gd name="connsiteX532" fmla="*/ 2508136 w 12191998"/>
              <a:gd name="connsiteY532" fmla="*/ 460379 h 6858000"/>
              <a:gd name="connsiteX533" fmla="*/ 2527977 w 12191998"/>
              <a:gd name="connsiteY533" fmla="*/ 481814 h 6858000"/>
              <a:gd name="connsiteX534" fmla="*/ 2535062 w 12191998"/>
              <a:gd name="connsiteY534" fmla="*/ 513728 h 6858000"/>
              <a:gd name="connsiteX535" fmla="*/ 2527977 w 12191998"/>
              <a:gd name="connsiteY535" fmla="*/ 545643 h 6858000"/>
              <a:gd name="connsiteX536" fmla="*/ 2508136 w 12191998"/>
              <a:gd name="connsiteY536" fmla="*/ 567078 h 6858000"/>
              <a:gd name="connsiteX537" fmla="*/ 2478849 w 12191998"/>
              <a:gd name="connsiteY537" fmla="*/ 574699 h 6858000"/>
              <a:gd name="connsiteX538" fmla="*/ 2450033 w 12191998"/>
              <a:gd name="connsiteY538" fmla="*/ 567078 h 6858000"/>
              <a:gd name="connsiteX539" fmla="*/ 2430193 w 12191998"/>
              <a:gd name="connsiteY539" fmla="*/ 545643 h 6858000"/>
              <a:gd name="connsiteX540" fmla="*/ 2423107 w 12191998"/>
              <a:gd name="connsiteY540" fmla="*/ 513728 h 6858000"/>
              <a:gd name="connsiteX541" fmla="*/ 2430193 w 12191998"/>
              <a:gd name="connsiteY541" fmla="*/ 481814 h 6858000"/>
              <a:gd name="connsiteX542" fmla="*/ 2450033 w 12191998"/>
              <a:gd name="connsiteY542" fmla="*/ 460379 h 6858000"/>
              <a:gd name="connsiteX543" fmla="*/ 2478849 w 12191998"/>
              <a:gd name="connsiteY543" fmla="*/ 452281 h 6858000"/>
              <a:gd name="connsiteX544" fmla="*/ 3294704 w 12191998"/>
              <a:gd name="connsiteY544" fmla="*/ 447050 h 6858000"/>
              <a:gd name="connsiteX545" fmla="*/ 3326385 w 12191998"/>
              <a:gd name="connsiteY545" fmla="*/ 457554 h 6858000"/>
              <a:gd name="connsiteX546" fmla="*/ 3341990 w 12191998"/>
              <a:gd name="connsiteY546" fmla="*/ 489065 h 6858000"/>
              <a:gd name="connsiteX547" fmla="*/ 3342462 w 12191998"/>
              <a:gd name="connsiteY547" fmla="*/ 496226 h 6858000"/>
              <a:gd name="connsiteX548" fmla="*/ 3244109 w 12191998"/>
              <a:gd name="connsiteY548" fmla="*/ 496226 h 6858000"/>
              <a:gd name="connsiteX549" fmla="*/ 3260659 w 12191998"/>
              <a:gd name="connsiteY549" fmla="*/ 459941 h 6858000"/>
              <a:gd name="connsiteX550" fmla="*/ 3294704 w 12191998"/>
              <a:gd name="connsiteY550" fmla="*/ 447050 h 6858000"/>
              <a:gd name="connsiteX551" fmla="*/ 2701269 w 12191998"/>
              <a:gd name="connsiteY551" fmla="*/ 447050 h 6858000"/>
              <a:gd name="connsiteX552" fmla="*/ 2732837 w 12191998"/>
              <a:gd name="connsiteY552" fmla="*/ 457554 h 6858000"/>
              <a:gd name="connsiteX553" fmla="*/ 2748386 w 12191998"/>
              <a:gd name="connsiteY553" fmla="*/ 489065 h 6858000"/>
              <a:gd name="connsiteX554" fmla="*/ 2748857 w 12191998"/>
              <a:gd name="connsiteY554" fmla="*/ 496226 h 6858000"/>
              <a:gd name="connsiteX555" fmla="*/ 2650853 w 12191998"/>
              <a:gd name="connsiteY555" fmla="*/ 496226 h 6858000"/>
              <a:gd name="connsiteX556" fmla="*/ 2667344 w 12191998"/>
              <a:gd name="connsiteY556" fmla="*/ 459941 h 6858000"/>
              <a:gd name="connsiteX557" fmla="*/ 2701269 w 12191998"/>
              <a:gd name="connsiteY557" fmla="*/ 447050 h 6858000"/>
              <a:gd name="connsiteX558" fmla="*/ 1538977 w 12191998"/>
              <a:gd name="connsiteY558" fmla="*/ 418451 h 6858000"/>
              <a:gd name="connsiteX559" fmla="*/ 1620129 w 12191998"/>
              <a:gd name="connsiteY559" fmla="*/ 603138 h 6858000"/>
              <a:gd name="connsiteX560" fmla="*/ 1601257 w 12191998"/>
              <a:gd name="connsiteY560" fmla="*/ 633126 h 6858000"/>
              <a:gd name="connsiteX561" fmla="*/ 1575779 w 12191998"/>
              <a:gd name="connsiteY561" fmla="*/ 640741 h 6858000"/>
              <a:gd name="connsiteX562" fmla="*/ 1560209 w 12191998"/>
              <a:gd name="connsiteY562" fmla="*/ 638837 h 6858000"/>
              <a:gd name="connsiteX563" fmla="*/ 1545583 w 12191998"/>
              <a:gd name="connsiteY563" fmla="*/ 634077 h 6858000"/>
              <a:gd name="connsiteX564" fmla="*/ 1545583 w 12191998"/>
              <a:gd name="connsiteY564" fmla="*/ 673585 h 6858000"/>
              <a:gd name="connsiteX565" fmla="*/ 1561624 w 12191998"/>
              <a:gd name="connsiteY565" fmla="*/ 678345 h 6858000"/>
              <a:gd name="connsiteX566" fmla="*/ 1578138 w 12191998"/>
              <a:gd name="connsiteY566" fmla="*/ 680725 h 6858000"/>
              <a:gd name="connsiteX567" fmla="*/ 1610221 w 12191998"/>
              <a:gd name="connsiteY567" fmla="*/ 674537 h 6858000"/>
              <a:gd name="connsiteX568" fmla="*/ 1638058 w 12191998"/>
              <a:gd name="connsiteY568" fmla="*/ 652165 h 6858000"/>
              <a:gd name="connsiteX569" fmla="*/ 1664008 w 12191998"/>
              <a:gd name="connsiteY569" fmla="*/ 605042 h 6858000"/>
              <a:gd name="connsiteX570" fmla="*/ 1740914 w 12191998"/>
              <a:gd name="connsiteY570" fmla="*/ 418451 h 6858000"/>
              <a:gd name="connsiteX571" fmla="*/ 1697979 w 12191998"/>
              <a:gd name="connsiteY571" fmla="*/ 418451 h 6858000"/>
              <a:gd name="connsiteX572" fmla="*/ 1642777 w 12191998"/>
              <a:gd name="connsiteY572" fmla="*/ 552682 h 6858000"/>
              <a:gd name="connsiteX573" fmla="*/ 1583800 w 12191998"/>
              <a:gd name="connsiteY573" fmla="*/ 418451 h 6858000"/>
              <a:gd name="connsiteX574" fmla="*/ 1538977 w 12191998"/>
              <a:gd name="connsiteY574" fmla="*/ 418451 h 6858000"/>
              <a:gd name="connsiteX575" fmla="*/ 1338434 w 12191998"/>
              <a:gd name="connsiteY575" fmla="*/ 418451 h 6858000"/>
              <a:gd name="connsiteX576" fmla="*/ 1338434 w 12191998"/>
              <a:gd name="connsiteY576" fmla="*/ 537864 h 6858000"/>
              <a:gd name="connsiteX577" fmla="*/ 1355442 w 12191998"/>
              <a:gd name="connsiteY577" fmla="*/ 594478 h 6858000"/>
              <a:gd name="connsiteX578" fmla="*/ 1404102 w 12191998"/>
              <a:gd name="connsiteY578" fmla="*/ 614459 h 6858000"/>
              <a:gd name="connsiteX579" fmla="*/ 1441897 w 12191998"/>
              <a:gd name="connsiteY579" fmla="*/ 605420 h 6858000"/>
              <a:gd name="connsiteX580" fmla="*/ 1465518 w 12191998"/>
              <a:gd name="connsiteY580" fmla="*/ 579254 h 6858000"/>
              <a:gd name="connsiteX581" fmla="*/ 1466463 w 12191998"/>
              <a:gd name="connsiteY581" fmla="*/ 608274 h 6858000"/>
              <a:gd name="connsiteX582" fmla="*/ 1508982 w 12191998"/>
              <a:gd name="connsiteY582" fmla="*/ 608274 h 6858000"/>
              <a:gd name="connsiteX583" fmla="*/ 1508982 w 12191998"/>
              <a:gd name="connsiteY583" fmla="*/ 418451 h 6858000"/>
              <a:gd name="connsiteX584" fmla="*/ 1464574 w 12191998"/>
              <a:gd name="connsiteY584" fmla="*/ 418451 h 6858000"/>
              <a:gd name="connsiteX585" fmla="*/ 1464574 w 12191998"/>
              <a:gd name="connsiteY585" fmla="*/ 521688 h 6858000"/>
              <a:gd name="connsiteX586" fmla="*/ 1453235 w 12191998"/>
              <a:gd name="connsiteY586" fmla="*/ 560700 h 6858000"/>
              <a:gd name="connsiteX587" fmla="*/ 1421110 w 12191998"/>
              <a:gd name="connsiteY587" fmla="*/ 574972 h 6858000"/>
              <a:gd name="connsiteX588" fmla="*/ 1391819 w 12191998"/>
              <a:gd name="connsiteY588" fmla="*/ 563554 h 6858000"/>
              <a:gd name="connsiteX589" fmla="*/ 1382843 w 12191998"/>
              <a:gd name="connsiteY589" fmla="*/ 527397 h 6858000"/>
              <a:gd name="connsiteX590" fmla="*/ 1382843 w 12191998"/>
              <a:gd name="connsiteY590" fmla="*/ 418451 h 6858000"/>
              <a:gd name="connsiteX591" fmla="*/ 1338434 w 12191998"/>
              <a:gd name="connsiteY591" fmla="*/ 418451 h 6858000"/>
              <a:gd name="connsiteX592" fmla="*/ 3524091 w 12191998"/>
              <a:gd name="connsiteY592" fmla="*/ 415661 h 6858000"/>
              <a:gd name="connsiteX593" fmla="*/ 3489531 w 12191998"/>
              <a:gd name="connsiteY593" fmla="*/ 427090 h 6858000"/>
              <a:gd name="connsiteX594" fmla="*/ 3466334 w 12191998"/>
              <a:gd name="connsiteY594" fmla="*/ 458045 h 6858000"/>
              <a:gd name="connsiteX595" fmla="*/ 3466334 w 12191998"/>
              <a:gd name="connsiteY595" fmla="*/ 418518 h 6858000"/>
              <a:gd name="connsiteX596" fmla="*/ 3423725 w 12191998"/>
              <a:gd name="connsiteY596" fmla="*/ 418518 h 6858000"/>
              <a:gd name="connsiteX597" fmla="*/ 3423725 w 12191998"/>
              <a:gd name="connsiteY597" fmla="*/ 608530 h 6858000"/>
              <a:gd name="connsiteX598" fmla="*/ 3468227 w 12191998"/>
              <a:gd name="connsiteY598" fmla="*/ 608530 h 6858000"/>
              <a:gd name="connsiteX599" fmla="*/ 3468227 w 12191998"/>
              <a:gd name="connsiteY599" fmla="*/ 519953 h 6858000"/>
              <a:gd name="connsiteX600" fmla="*/ 3481010 w 12191998"/>
              <a:gd name="connsiteY600" fmla="*/ 473284 h 6858000"/>
              <a:gd name="connsiteX601" fmla="*/ 3518411 w 12191998"/>
              <a:gd name="connsiteY601" fmla="*/ 457568 h 6858000"/>
              <a:gd name="connsiteX602" fmla="*/ 3534507 w 12191998"/>
              <a:gd name="connsiteY602" fmla="*/ 458997 h 6858000"/>
              <a:gd name="connsiteX603" fmla="*/ 3548236 w 12191998"/>
              <a:gd name="connsiteY603" fmla="*/ 461854 h 6858000"/>
              <a:gd name="connsiteX604" fmla="*/ 3548236 w 12191998"/>
              <a:gd name="connsiteY604" fmla="*/ 419471 h 6858000"/>
              <a:gd name="connsiteX605" fmla="*/ 3536401 w 12191998"/>
              <a:gd name="connsiteY605" fmla="*/ 416614 h 6858000"/>
              <a:gd name="connsiteX606" fmla="*/ 3524091 w 12191998"/>
              <a:gd name="connsiteY606" fmla="*/ 415661 h 6858000"/>
              <a:gd name="connsiteX607" fmla="*/ 2326486 w 12191998"/>
              <a:gd name="connsiteY607" fmla="*/ 415661 h 6858000"/>
              <a:gd name="connsiteX608" fmla="*/ 2292023 w 12191998"/>
              <a:gd name="connsiteY608" fmla="*/ 427090 h 6858000"/>
              <a:gd name="connsiteX609" fmla="*/ 2268890 w 12191998"/>
              <a:gd name="connsiteY609" fmla="*/ 458045 h 6858000"/>
              <a:gd name="connsiteX610" fmla="*/ 2268890 w 12191998"/>
              <a:gd name="connsiteY610" fmla="*/ 418518 h 6858000"/>
              <a:gd name="connsiteX611" fmla="*/ 2226401 w 12191998"/>
              <a:gd name="connsiteY611" fmla="*/ 418518 h 6858000"/>
              <a:gd name="connsiteX612" fmla="*/ 2226401 w 12191998"/>
              <a:gd name="connsiteY612" fmla="*/ 608530 h 6858000"/>
              <a:gd name="connsiteX613" fmla="*/ 2270778 w 12191998"/>
              <a:gd name="connsiteY613" fmla="*/ 608530 h 6858000"/>
              <a:gd name="connsiteX614" fmla="*/ 2270778 w 12191998"/>
              <a:gd name="connsiteY614" fmla="*/ 519953 h 6858000"/>
              <a:gd name="connsiteX615" fmla="*/ 2283525 w 12191998"/>
              <a:gd name="connsiteY615" fmla="*/ 473284 h 6858000"/>
              <a:gd name="connsiteX616" fmla="*/ 2320821 w 12191998"/>
              <a:gd name="connsiteY616" fmla="*/ 457568 h 6858000"/>
              <a:gd name="connsiteX617" fmla="*/ 2336400 w 12191998"/>
              <a:gd name="connsiteY617" fmla="*/ 458997 h 6858000"/>
              <a:gd name="connsiteX618" fmla="*/ 2350563 w 12191998"/>
              <a:gd name="connsiteY618" fmla="*/ 461854 h 6858000"/>
              <a:gd name="connsiteX619" fmla="*/ 2350563 w 12191998"/>
              <a:gd name="connsiteY619" fmla="*/ 419471 h 6858000"/>
              <a:gd name="connsiteX620" fmla="*/ 2338761 w 12191998"/>
              <a:gd name="connsiteY620" fmla="*/ 416614 h 6858000"/>
              <a:gd name="connsiteX621" fmla="*/ 2326486 w 12191998"/>
              <a:gd name="connsiteY621" fmla="*/ 415661 h 6858000"/>
              <a:gd name="connsiteX622" fmla="*/ 3296720 w 12191998"/>
              <a:gd name="connsiteY622" fmla="*/ 412871 h 6858000"/>
              <a:gd name="connsiteX623" fmla="*/ 3247547 w 12191998"/>
              <a:gd name="connsiteY623" fmla="*/ 425708 h 6858000"/>
              <a:gd name="connsiteX624" fmla="*/ 3213505 w 12191998"/>
              <a:gd name="connsiteY624" fmla="*/ 461366 h 6858000"/>
              <a:gd name="connsiteX625" fmla="*/ 3201211 w 12191998"/>
              <a:gd name="connsiteY625" fmla="*/ 514141 h 6858000"/>
              <a:gd name="connsiteX626" fmla="*/ 3214923 w 12191998"/>
              <a:gd name="connsiteY626" fmla="*/ 568817 h 6858000"/>
              <a:gd name="connsiteX627" fmla="*/ 3252748 w 12191998"/>
              <a:gd name="connsiteY627" fmla="*/ 603049 h 6858000"/>
              <a:gd name="connsiteX628" fmla="*/ 3307122 w 12191998"/>
              <a:gd name="connsiteY628" fmla="*/ 614459 h 6858000"/>
              <a:gd name="connsiteX629" fmla="*/ 3344948 w 12191998"/>
              <a:gd name="connsiteY629" fmla="*/ 608278 h 6858000"/>
              <a:gd name="connsiteX630" fmla="*/ 3378518 w 12191998"/>
              <a:gd name="connsiteY630" fmla="*/ 592113 h 6858000"/>
              <a:gd name="connsiteX631" fmla="*/ 3378518 w 12191998"/>
              <a:gd name="connsiteY631" fmla="*/ 553127 h 6858000"/>
              <a:gd name="connsiteX632" fmla="*/ 3311378 w 12191998"/>
              <a:gd name="connsiteY632" fmla="*/ 575948 h 6858000"/>
              <a:gd name="connsiteX633" fmla="*/ 3265514 w 12191998"/>
              <a:gd name="connsiteY633" fmla="*/ 562636 h 6858000"/>
              <a:gd name="connsiteX634" fmla="*/ 3244238 w 12191998"/>
              <a:gd name="connsiteY634" fmla="*/ 525551 h 6858000"/>
              <a:gd name="connsiteX635" fmla="*/ 3383246 w 12191998"/>
              <a:gd name="connsiteY635" fmla="*/ 525551 h 6858000"/>
              <a:gd name="connsiteX636" fmla="*/ 3384192 w 12191998"/>
              <a:gd name="connsiteY636" fmla="*/ 514141 h 6858000"/>
              <a:gd name="connsiteX637" fmla="*/ 3384664 w 12191998"/>
              <a:gd name="connsiteY637" fmla="*/ 506533 h 6858000"/>
              <a:gd name="connsiteX638" fmla="*/ 3373790 w 12191998"/>
              <a:gd name="connsiteY638" fmla="*/ 457087 h 6858000"/>
              <a:gd name="connsiteX639" fmla="*/ 3343056 w 12191998"/>
              <a:gd name="connsiteY639" fmla="*/ 424282 h 6858000"/>
              <a:gd name="connsiteX640" fmla="*/ 3296720 w 12191998"/>
              <a:gd name="connsiteY640" fmla="*/ 412871 h 6858000"/>
              <a:gd name="connsiteX641" fmla="*/ 2933385 w 12191998"/>
              <a:gd name="connsiteY641" fmla="*/ 412871 h 6858000"/>
              <a:gd name="connsiteX642" fmla="*/ 2897034 w 12191998"/>
              <a:gd name="connsiteY642" fmla="*/ 422392 h 6858000"/>
              <a:gd name="connsiteX643" fmla="*/ 2873430 w 12191998"/>
              <a:gd name="connsiteY643" fmla="*/ 449051 h 6858000"/>
              <a:gd name="connsiteX644" fmla="*/ 2872957 w 12191998"/>
              <a:gd name="connsiteY644" fmla="*/ 418584 h 6858000"/>
              <a:gd name="connsiteX645" fmla="*/ 2830469 w 12191998"/>
              <a:gd name="connsiteY645" fmla="*/ 418584 h 6858000"/>
              <a:gd name="connsiteX646" fmla="*/ 2830469 w 12191998"/>
              <a:gd name="connsiteY646" fmla="*/ 608530 h 6858000"/>
              <a:gd name="connsiteX647" fmla="*/ 2874846 w 12191998"/>
              <a:gd name="connsiteY647" fmla="*/ 608530 h 6858000"/>
              <a:gd name="connsiteX648" fmla="*/ 2874846 w 12191998"/>
              <a:gd name="connsiteY648" fmla="*/ 505702 h 6858000"/>
              <a:gd name="connsiteX649" fmla="*/ 2886648 w 12191998"/>
              <a:gd name="connsiteY649" fmla="*/ 466189 h 6858000"/>
              <a:gd name="connsiteX650" fmla="*/ 2919695 w 12191998"/>
              <a:gd name="connsiteY650" fmla="*/ 452384 h 6858000"/>
              <a:gd name="connsiteX651" fmla="*/ 2957462 w 12191998"/>
              <a:gd name="connsiteY651" fmla="*/ 501894 h 6858000"/>
              <a:gd name="connsiteX652" fmla="*/ 2957462 w 12191998"/>
              <a:gd name="connsiteY652" fmla="*/ 608530 h 6858000"/>
              <a:gd name="connsiteX653" fmla="*/ 3001366 w 12191998"/>
              <a:gd name="connsiteY653" fmla="*/ 608530 h 6858000"/>
              <a:gd name="connsiteX654" fmla="*/ 3001366 w 12191998"/>
              <a:gd name="connsiteY654" fmla="*/ 493801 h 6858000"/>
              <a:gd name="connsiteX655" fmla="*/ 2983899 w 12191998"/>
              <a:gd name="connsiteY655" fmla="*/ 433818 h 6858000"/>
              <a:gd name="connsiteX656" fmla="*/ 2933385 w 12191998"/>
              <a:gd name="connsiteY656" fmla="*/ 412871 h 6858000"/>
              <a:gd name="connsiteX657" fmla="*/ 2703114 w 12191998"/>
              <a:gd name="connsiteY657" fmla="*/ 412871 h 6858000"/>
              <a:gd name="connsiteX658" fmla="*/ 2653941 w 12191998"/>
              <a:gd name="connsiteY658" fmla="*/ 425708 h 6858000"/>
              <a:gd name="connsiteX659" fmla="*/ 2619899 w 12191998"/>
              <a:gd name="connsiteY659" fmla="*/ 461366 h 6858000"/>
              <a:gd name="connsiteX660" fmla="*/ 2607605 w 12191998"/>
              <a:gd name="connsiteY660" fmla="*/ 514141 h 6858000"/>
              <a:gd name="connsiteX661" fmla="*/ 2621317 w 12191998"/>
              <a:gd name="connsiteY661" fmla="*/ 568817 h 6858000"/>
              <a:gd name="connsiteX662" fmla="*/ 2659142 w 12191998"/>
              <a:gd name="connsiteY662" fmla="*/ 603049 h 6858000"/>
              <a:gd name="connsiteX663" fmla="*/ 2713516 w 12191998"/>
              <a:gd name="connsiteY663" fmla="*/ 614459 h 6858000"/>
              <a:gd name="connsiteX664" fmla="*/ 2751342 w 12191998"/>
              <a:gd name="connsiteY664" fmla="*/ 608278 h 6858000"/>
              <a:gd name="connsiteX665" fmla="*/ 2784912 w 12191998"/>
              <a:gd name="connsiteY665" fmla="*/ 592113 h 6858000"/>
              <a:gd name="connsiteX666" fmla="*/ 2784912 w 12191998"/>
              <a:gd name="connsiteY666" fmla="*/ 553127 h 6858000"/>
              <a:gd name="connsiteX667" fmla="*/ 2717771 w 12191998"/>
              <a:gd name="connsiteY667" fmla="*/ 575948 h 6858000"/>
              <a:gd name="connsiteX668" fmla="*/ 2671908 w 12191998"/>
              <a:gd name="connsiteY668" fmla="*/ 562636 h 6858000"/>
              <a:gd name="connsiteX669" fmla="*/ 2650632 w 12191998"/>
              <a:gd name="connsiteY669" fmla="*/ 525551 h 6858000"/>
              <a:gd name="connsiteX670" fmla="*/ 2789640 w 12191998"/>
              <a:gd name="connsiteY670" fmla="*/ 525551 h 6858000"/>
              <a:gd name="connsiteX671" fmla="*/ 2790586 w 12191998"/>
              <a:gd name="connsiteY671" fmla="*/ 514141 h 6858000"/>
              <a:gd name="connsiteX672" fmla="*/ 2791058 w 12191998"/>
              <a:gd name="connsiteY672" fmla="*/ 506533 h 6858000"/>
              <a:gd name="connsiteX673" fmla="*/ 2780184 w 12191998"/>
              <a:gd name="connsiteY673" fmla="*/ 457087 h 6858000"/>
              <a:gd name="connsiteX674" fmla="*/ 2749450 w 12191998"/>
              <a:gd name="connsiteY674" fmla="*/ 424282 h 6858000"/>
              <a:gd name="connsiteX675" fmla="*/ 2703114 w 12191998"/>
              <a:gd name="connsiteY675" fmla="*/ 412871 h 6858000"/>
              <a:gd name="connsiteX676" fmla="*/ 2491416 w 12191998"/>
              <a:gd name="connsiteY676" fmla="*/ 412871 h 6858000"/>
              <a:gd name="connsiteX677" fmla="*/ 2451701 w 12191998"/>
              <a:gd name="connsiteY677" fmla="*/ 422381 h 6858000"/>
              <a:gd name="connsiteX678" fmla="*/ 2423806 w 12191998"/>
              <a:gd name="connsiteY678" fmla="*/ 450910 h 6858000"/>
              <a:gd name="connsiteX679" fmla="*/ 2423806 w 12191998"/>
              <a:gd name="connsiteY679" fmla="*/ 418577 h 6858000"/>
              <a:gd name="connsiteX680" fmla="*/ 2381254 w 12191998"/>
              <a:gd name="connsiteY680" fmla="*/ 418577 h 6858000"/>
              <a:gd name="connsiteX681" fmla="*/ 2381254 w 12191998"/>
              <a:gd name="connsiteY681" fmla="*/ 677238 h 6858000"/>
              <a:gd name="connsiteX682" fmla="*/ 2425697 w 12191998"/>
              <a:gd name="connsiteY682" fmla="*/ 677238 h 6858000"/>
              <a:gd name="connsiteX683" fmla="*/ 2425697 w 12191998"/>
              <a:gd name="connsiteY683" fmla="*/ 579765 h 6858000"/>
              <a:gd name="connsiteX684" fmla="*/ 2451701 w 12191998"/>
              <a:gd name="connsiteY684" fmla="*/ 605441 h 6858000"/>
              <a:gd name="connsiteX685" fmla="*/ 2488106 w 12191998"/>
              <a:gd name="connsiteY685" fmla="*/ 614475 h 6858000"/>
              <a:gd name="connsiteX686" fmla="*/ 2523566 w 12191998"/>
              <a:gd name="connsiteY686" fmla="*/ 606867 h 6858000"/>
              <a:gd name="connsiteX687" fmla="*/ 2552879 w 12191998"/>
              <a:gd name="connsiteY687" fmla="*/ 584995 h 6858000"/>
              <a:gd name="connsiteX688" fmla="*/ 2572263 w 12191998"/>
              <a:gd name="connsiteY688" fmla="*/ 553138 h 6858000"/>
              <a:gd name="connsiteX689" fmla="*/ 2579355 w 12191998"/>
              <a:gd name="connsiteY689" fmla="*/ 513197 h 6858000"/>
              <a:gd name="connsiteX690" fmla="*/ 2568008 w 12191998"/>
              <a:gd name="connsiteY690" fmla="*/ 461370 h 6858000"/>
              <a:gd name="connsiteX691" fmla="*/ 2536804 w 12191998"/>
              <a:gd name="connsiteY691" fmla="*/ 425709 h 6858000"/>
              <a:gd name="connsiteX692" fmla="*/ 2491416 w 12191998"/>
              <a:gd name="connsiteY692" fmla="*/ 412871 h 6858000"/>
              <a:gd name="connsiteX693" fmla="*/ 2092586 w 12191998"/>
              <a:gd name="connsiteY693" fmla="*/ 412871 h 6858000"/>
              <a:gd name="connsiteX694" fmla="*/ 2056618 w 12191998"/>
              <a:gd name="connsiteY694" fmla="*/ 418101 h 6858000"/>
              <a:gd name="connsiteX695" fmla="*/ 2026330 w 12191998"/>
              <a:gd name="connsiteY695" fmla="*/ 430938 h 6858000"/>
              <a:gd name="connsiteX696" fmla="*/ 2026330 w 12191998"/>
              <a:gd name="connsiteY696" fmla="*/ 469924 h 6858000"/>
              <a:gd name="connsiteX697" fmla="*/ 2056618 w 12191998"/>
              <a:gd name="connsiteY697" fmla="*/ 455661 h 6858000"/>
              <a:gd name="connsiteX698" fmla="*/ 2088326 w 12191998"/>
              <a:gd name="connsiteY698" fmla="*/ 450431 h 6858000"/>
              <a:gd name="connsiteX699" fmla="*/ 2127134 w 12191998"/>
              <a:gd name="connsiteY699" fmla="*/ 463268 h 6858000"/>
              <a:gd name="connsiteX700" fmla="*/ 2139438 w 12191998"/>
              <a:gd name="connsiteY700" fmla="*/ 499402 h 6858000"/>
              <a:gd name="connsiteX701" fmla="*/ 2139438 w 12191998"/>
              <a:gd name="connsiteY701" fmla="*/ 500353 h 6858000"/>
              <a:gd name="connsiteX702" fmla="*/ 2089746 w 12191998"/>
              <a:gd name="connsiteY702" fmla="*/ 490844 h 6858000"/>
              <a:gd name="connsiteX703" fmla="*/ 2049046 w 12191998"/>
              <a:gd name="connsiteY703" fmla="*/ 498926 h 6858000"/>
              <a:gd name="connsiteX704" fmla="*/ 2022070 w 12191998"/>
              <a:gd name="connsiteY704" fmla="*/ 521272 h 6858000"/>
              <a:gd name="connsiteX705" fmla="*/ 2012605 w 12191998"/>
              <a:gd name="connsiteY705" fmla="*/ 555029 h 6858000"/>
              <a:gd name="connsiteX706" fmla="*/ 2030589 w 12191998"/>
              <a:gd name="connsiteY706" fmla="*/ 598294 h 6858000"/>
              <a:gd name="connsiteX707" fmla="*/ 2077915 w 12191998"/>
              <a:gd name="connsiteY707" fmla="*/ 614459 h 6858000"/>
              <a:gd name="connsiteX708" fmla="*/ 2115776 w 12191998"/>
              <a:gd name="connsiteY708" fmla="*/ 605426 h 6858000"/>
              <a:gd name="connsiteX709" fmla="*/ 2140858 w 12191998"/>
              <a:gd name="connsiteY709" fmla="*/ 580703 h 6858000"/>
              <a:gd name="connsiteX710" fmla="*/ 2141331 w 12191998"/>
              <a:gd name="connsiteY710" fmla="*/ 608278 h 6858000"/>
              <a:gd name="connsiteX711" fmla="*/ 2179665 w 12191998"/>
              <a:gd name="connsiteY711" fmla="*/ 608278 h 6858000"/>
              <a:gd name="connsiteX712" fmla="*/ 2179665 w 12191998"/>
              <a:gd name="connsiteY712" fmla="*/ 496549 h 6858000"/>
              <a:gd name="connsiteX713" fmla="*/ 2157422 w 12191998"/>
              <a:gd name="connsiteY713" fmla="*/ 434266 h 6858000"/>
              <a:gd name="connsiteX714" fmla="*/ 2092586 w 12191998"/>
              <a:gd name="connsiteY714" fmla="*/ 412871 h 6858000"/>
              <a:gd name="connsiteX715" fmla="*/ 3067069 w 12191998"/>
              <a:gd name="connsiteY715" fmla="*/ 371367 h 6858000"/>
              <a:gd name="connsiteX716" fmla="*/ 3067069 w 12191998"/>
              <a:gd name="connsiteY716" fmla="*/ 421793 h 6858000"/>
              <a:gd name="connsiteX717" fmla="*/ 3027872 w 12191998"/>
              <a:gd name="connsiteY717" fmla="*/ 421793 h 6858000"/>
              <a:gd name="connsiteX718" fmla="*/ 3027872 w 12191998"/>
              <a:gd name="connsiteY718" fmla="*/ 458899 h 6858000"/>
              <a:gd name="connsiteX719" fmla="*/ 3067069 w 12191998"/>
              <a:gd name="connsiteY719" fmla="*/ 458899 h 6858000"/>
              <a:gd name="connsiteX720" fmla="*/ 3067069 w 12191998"/>
              <a:gd name="connsiteY720" fmla="*/ 538820 h 6858000"/>
              <a:gd name="connsiteX721" fmla="*/ 3083125 w 12191998"/>
              <a:gd name="connsiteY721" fmla="*/ 594955 h 6858000"/>
              <a:gd name="connsiteX722" fmla="*/ 3132238 w 12191998"/>
              <a:gd name="connsiteY722" fmla="*/ 614459 h 6858000"/>
              <a:gd name="connsiteX723" fmla="*/ 3157268 w 12191998"/>
              <a:gd name="connsiteY723" fmla="*/ 611605 h 6858000"/>
              <a:gd name="connsiteX724" fmla="*/ 3179935 w 12191998"/>
              <a:gd name="connsiteY724" fmla="*/ 603518 h 6858000"/>
              <a:gd name="connsiteX725" fmla="*/ 3179935 w 12191998"/>
              <a:gd name="connsiteY725" fmla="*/ 563082 h 6858000"/>
              <a:gd name="connsiteX726" fmla="*/ 3161518 w 12191998"/>
              <a:gd name="connsiteY726" fmla="*/ 571169 h 6858000"/>
              <a:gd name="connsiteX727" fmla="*/ 3140267 w 12191998"/>
              <a:gd name="connsiteY727" fmla="*/ 574499 h 6858000"/>
              <a:gd name="connsiteX728" fmla="*/ 3118071 w 12191998"/>
              <a:gd name="connsiteY728" fmla="*/ 564984 h 6858000"/>
              <a:gd name="connsiteX729" fmla="*/ 3110988 w 12191998"/>
              <a:gd name="connsiteY729" fmla="*/ 535014 h 6858000"/>
              <a:gd name="connsiteX730" fmla="*/ 3110988 w 12191998"/>
              <a:gd name="connsiteY730" fmla="*/ 458899 h 6858000"/>
              <a:gd name="connsiteX731" fmla="*/ 3172379 w 12191998"/>
              <a:gd name="connsiteY731" fmla="*/ 458899 h 6858000"/>
              <a:gd name="connsiteX732" fmla="*/ 3172379 w 12191998"/>
              <a:gd name="connsiteY732" fmla="*/ 421793 h 6858000"/>
              <a:gd name="connsiteX733" fmla="*/ 3110988 w 12191998"/>
              <a:gd name="connsiteY733" fmla="*/ 421793 h 6858000"/>
              <a:gd name="connsiteX734" fmla="*/ 3110988 w 12191998"/>
              <a:gd name="connsiteY734" fmla="*/ 371367 h 6858000"/>
              <a:gd name="connsiteX735" fmla="*/ 3067069 w 12191998"/>
              <a:gd name="connsiteY735" fmla="*/ 371367 h 6858000"/>
              <a:gd name="connsiteX736" fmla="*/ 1901415 w 12191998"/>
              <a:gd name="connsiteY736" fmla="*/ 352534 h 6858000"/>
              <a:gd name="connsiteX737" fmla="*/ 1847066 w 12191998"/>
              <a:gd name="connsiteY737" fmla="*/ 362041 h 6858000"/>
              <a:gd name="connsiteX738" fmla="*/ 1804531 w 12191998"/>
              <a:gd name="connsiteY738" fmla="*/ 389137 h 6858000"/>
              <a:gd name="connsiteX739" fmla="*/ 1776648 w 12191998"/>
              <a:gd name="connsiteY739" fmla="*/ 430494 h 6858000"/>
              <a:gd name="connsiteX740" fmla="*/ 1766723 w 12191998"/>
              <a:gd name="connsiteY740" fmla="*/ 483259 h 6858000"/>
              <a:gd name="connsiteX741" fmla="*/ 1783264 w 12191998"/>
              <a:gd name="connsiteY741" fmla="*/ 552662 h 6858000"/>
              <a:gd name="connsiteX742" fmla="*/ 1829579 w 12191998"/>
              <a:gd name="connsiteY742" fmla="*/ 598297 h 6858000"/>
              <a:gd name="connsiteX743" fmla="*/ 1898579 w 12191998"/>
              <a:gd name="connsiteY743" fmla="*/ 614459 h 6858000"/>
              <a:gd name="connsiteX744" fmla="*/ 1940168 w 12191998"/>
              <a:gd name="connsiteY744" fmla="*/ 609706 h 6858000"/>
              <a:gd name="connsiteX745" fmla="*/ 1977031 w 12191998"/>
              <a:gd name="connsiteY745" fmla="*/ 596395 h 6858000"/>
              <a:gd name="connsiteX746" fmla="*/ 1977031 w 12191998"/>
              <a:gd name="connsiteY746" fmla="*/ 554088 h 6858000"/>
              <a:gd name="connsiteX747" fmla="*/ 1939696 w 12191998"/>
              <a:gd name="connsiteY747" fmla="*/ 567398 h 6858000"/>
              <a:gd name="connsiteX748" fmla="*/ 1902360 w 12191998"/>
              <a:gd name="connsiteY748" fmla="*/ 572152 h 6858000"/>
              <a:gd name="connsiteX749" fmla="*/ 1855573 w 12191998"/>
              <a:gd name="connsiteY749" fmla="*/ 561694 h 6858000"/>
              <a:gd name="connsiteX750" fmla="*/ 1824853 w 12191998"/>
              <a:gd name="connsiteY750" fmla="*/ 530795 h 6858000"/>
              <a:gd name="connsiteX751" fmla="*/ 1814456 w 12191998"/>
              <a:gd name="connsiteY751" fmla="*/ 483259 h 6858000"/>
              <a:gd name="connsiteX752" fmla="*/ 1825326 w 12191998"/>
              <a:gd name="connsiteY752" fmla="*/ 436673 h 6858000"/>
              <a:gd name="connsiteX753" fmla="*/ 1856045 w 12191998"/>
              <a:gd name="connsiteY753" fmla="*/ 405775 h 6858000"/>
              <a:gd name="connsiteX754" fmla="*/ 1901415 w 12191998"/>
              <a:gd name="connsiteY754" fmla="*/ 394841 h 6858000"/>
              <a:gd name="connsiteX755" fmla="*/ 1937805 w 12191998"/>
              <a:gd name="connsiteY755" fmla="*/ 399595 h 6858000"/>
              <a:gd name="connsiteX756" fmla="*/ 1977031 w 12191998"/>
              <a:gd name="connsiteY756" fmla="*/ 415282 h 6858000"/>
              <a:gd name="connsiteX757" fmla="*/ 1977031 w 12191998"/>
              <a:gd name="connsiteY757" fmla="*/ 371549 h 6858000"/>
              <a:gd name="connsiteX758" fmla="*/ 1942059 w 12191998"/>
              <a:gd name="connsiteY758" fmla="*/ 357763 h 6858000"/>
              <a:gd name="connsiteX759" fmla="*/ 1901415 w 12191998"/>
              <a:gd name="connsiteY759" fmla="*/ 352534 h 6858000"/>
              <a:gd name="connsiteX760" fmla="*/ 1201412 w 12191998"/>
              <a:gd name="connsiteY760" fmla="*/ 352534 h 6858000"/>
              <a:gd name="connsiteX761" fmla="*/ 1129087 w 12191998"/>
              <a:gd name="connsiteY761" fmla="*/ 369172 h 6858000"/>
              <a:gd name="connsiteX762" fmla="*/ 1080398 w 12191998"/>
              <a:gd name="connsiteY762" fmla="*/ 415282 h 6858000"/>
              <a:gd name="connsiteX763" fmla="*/ 1062907 w 12191998"/>
              <a:gd name="connsiteY763" fmla="*/ 484210 h 6858000"/>
              <a:gd name="connsiteX764" fmla="*/ 1079452 w 12191998"/>
              <a:gd name="connsiteY764" fmla="*/ 553137 h 6858000"/>
              <a:gd name="connsiteX765" fmla="*/ 1126723 w 12191998"/>
              <a:gd name="connsiteY765" fmla="*/ 598297 h 6858000"/>
              <a:gd name="connsiteX766" fmla="*/ 1197630 w 12191998"/>
              <a:gd name="connsiteY766" fmla="*/ 614459 h 6858000"/>
              <a:gd name="connsiteX767" fmla="*/ 1291700 w 12191998"/>
              <a:gd name="connsiteY767" fmla="*/ 595920 h 6858000"/>
              <a:gd name="connsiteX768" fmla="*/ 1291700 w 12191998"/>
              <a:gd name="connsiteY768" fmla="*/ 470899 h 6858000"/>
              <a:gd name="connsiteX769" fmla="*/ 1198103 w 12191998"/>
              <a:gd name="connsiteY769" fmla="*/ 470899 h 6858000"/>
              <a:gd name="connsiteX770" fmla="*/ 1198103 w 12191998"/>
              <a:gd name="connsiteY770" fmla="*/ 510830 h 6858000"/>
              <a:gd name="connsiteX771" fmla="*/ 1249629 w 12191998"/>
              <a:gd name="connsiteY771" fmla="*/ 510830 h 6858000"/>
              <a:gd name="connsiteX772" fmla="*/ 1249629 w 12191998"/>
              <a:gd name="connsiteY772" fmla="*/ 565497 h 6858000"/>
              <a:gd name="connsiteX773" fmla="*/ 1199994 w 12191998"/>
              <a:gd name="connsiteY773" fmla="*/ 572627 h 6858000"/>
              <a:gd name="connsiteX774" fmla="*/ 1151777 w 12191998"/>
              <a:gd name="connsiteY774" fmla="*/ 562169 h 6858000"/>
              <a:gd name="connsiteX775" fmla="*/ 1120578 w 12191998"/>
              <a:gd name="connsiteY775" fmla="*/ 531271 h 6858000"/>
              <a:gd name="connsiteX776" fmla="*/ 1109706 w 12191998"/>
              <a:gd name="connsiteY776" fmla="*/ 483259 h 6858000"/>
              <a:gd name="connsiteX777" fmla="*/ 1121051 w 12191998"/>
              <a:gd name="connsiteY777" fmla="*/ 436673 h 6858000"/>
              <a:gd name="connsiteX778" fmla="*/ 1152250 w 12191998"/>
              <a:gd name="connsiteY778" fmla="*/ 405299 h 6858000"/>
              <a:gd name="connsiteX779" fmla="*/ 1199521 w 12191998"/>
              <a:gd name="connsiteY779" fmla="*/ 394366 h 6858000"/>
              <a:gd name="connsiteX780" fmla="*/ 1280828 w 12191998"/>
              <a:gd name="connsiteY780" fmla="*/ 412430 h 6858000"/>
              <a:gd name="connsiteX781" fmla="*/ 1280828 w 12191998"/>
              <a:gd name="connsiteY781" fmla="*/ 369647 h 6858000"/>
              <a:gd name="connsiteX782" fmla="*/ 1243956 w 12191998"/>
              <a:gd name="connsiteY782" fmla="*/ 357288 h 6858000"/>
              <a:gd name="connsiteX783" fmla="*/ 1201412 w 12191998"/>
              <a:gd name="connsiteY783" fmla="*/ 352534 h 6858000"/>
              <a:gd name="connsiteX784" fmla="*/ 597009 w 12191998"/>
              <a:gd name="connsiteY784" fmla="*/ 345657 h 6858000"/>
              <a:gd name="connsiteX785" fmla="*/ 497757 w 12191998"/>
              <a:gd name="connsiteY785" fmla="*/ 403249 h 6858000"/>
              <a:gd name="connsiteX786" fmla="*/ 484996 w 12191998"/>
              <a:gd name="connsiteY786" fmla="*/ 425143 h 6858000"/>
              <a:gd name="connsiteX787" fmla="*/ 484996 w 12191998"/>
              <a:gd name="connsiteY787" fmla="*/ 540803 h 6858000"/>
              <a:gd name="connsiteX788" fmla="*/ 497757 w 12191998"/>
              <a:gd name="connsiteY788" fmla="*/ 562697 h 6858000"/>
              <a:gd name="connsiteX789" fmla="*/ 597009 w 12191998"/>
              <a:gd name="connsiteY789" fmla="*/ 620289 h 6858000"/>
              <a:gd name="connsiteX790" fmla="*/ 622531 w 12191998"/>
              <a:gd name="connsiteY790" fmla="*/ 620289 h 6858000"/>
              <a:gd name="connsiteX791" fmla="*/ 896655 w 12191998"/>
              <a:gd name="connsiteY791" fmla="*/ 461317 h 6858000"/>
              <a:gd name="connsiteX792" fmla="*/ 744942 w 12191998"/>
              <a:gd name="connsiteY792" fmla="*/ 578404 h 6858000"/>
              <a:gd name="connsiteX793" fmla="*/ 817254 w 12191998"/>
              <a:gd name="connsiteY793" fmla="*/ 620289 h 6858000"/>
              <a:gd name="connsiteX794" fmla="*/ 842775 w 12191998"/>
              <a:gd name="connsiteY794" fmla="*/ 620289 h 6858000"/>
              <a:gd name="connsiteX795" fmla="*/ 942027 w 12191998"/>
              <a:gd name="connsiteY795" fmla="*/ 562697 h 6858000"/>
              <a:gd name="connsiteX796" fmla="*/ 954788 w 12191998"/>
              <a:gd name="connsiteY796" fmla="*/ 540803 h 6858000"/>
              <a:gd name="connsiteX797" fmla="*/ 954788 w 12191998"/>
              <a:gd name="connsiteY797" fmla="*/ 425619 h 6858000"/>
              <a:gd name="connsiteX798" fmla="*/ 942027 w 12191998"/>
              <a:gd name="connsiteY798" fmla="*/ 403249 h 6858000"/>
              <a:gd name="connsiteX799" fmla="*/ 842775 w 12191998"/>
              <a:gd name="connsiteY799" fmla="*/ 345657 h 6858000"/>
              <a:gd name="connsiteX800" fmla="*/ 817254 w 12191998"/>
              <a:gd name="connsiteY800" fmla="*/ 345657 h 6858000"/>
              <a:gd name="connsiteX801" fmla="*/ 543129 w 12191998"/>
              <a:gd name="connsiteY801" fmla="*/ 504630 h 6858000"/>
              <a:gd name="connsiteX802" fmla="*/ 694843 w 12191998"/>
              <a:gd name="connsiteY802" fmla="*/ 387542 h 6858000"/>
              <a:gd name="connsiteX803" fmla="*/ 622531 w 12191998"/>
              <a:gd name="connsiteY803" fmla="*/ 345657 h 6858000"/>
              <a:gd name="connsiteX804" fmla="*/ 597009 w 12191998"/>
              <a:gd name="connsiteY804" fmla="*/ 345657 h 6858000"/>
              <a:gd name="connsiteX805" fmla="*/ 0 w 12191998"/>
              <a:gd name="connsiteY805" fmla="*/ 0 h 6858000"/>
              <a:gd name="connsiteX806" fmla="*/ 12191998 w 12191998"/>
              <a:gd name="connsiteY806" fmla="*/ 0 h 6858000"/>
              <a:gd name="connsiteX807" fmla="*/ 12191998 w 12191998"/>
              <a:gd name="connsiteY807" fmla="*/ 6858000 h 6858000"/>
              <a:gd name="connsiteX808" fmla="*/ 0 w 12191998"/>
              <a:gd name="connsiteY80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Lst>
            <a:rect l="l" t="t" r="r" b="b"/>
            <a:pathLst>
              <a:path w="12191998" h="6858000">
                <a:moveTo>
                  <a:pt x="2154181" y="6348734"/>
                </a:moveTo>
                <a:lnTo>
                  <a:pt x="2154181" y="6352725"/>
                </a:lnTo>
                <a:cubicBezTo>
                  <a:pt x="2154181" y="6357521"/>
                  <a:pt x="2153596" y="6361149"/>
                  <a:pt x="2152427" y="6363608"/>
                </a:cubicBezTo>
                <a:cubicBezTo>
                  <a:pt x="2150895" y="6366792"/>
                  <a:pt x="2148497" y="6369301"/>
                  <a:pt x="2145232" y="6371135"/>
                </a:cubicBezTo>
                <a:cubicBezTo>
                  <a:pt x="2141967" y="6372969"/>
                  <a:pt x="2138239" y="6373886"/>
                  <a:pt x="2134047" y="6373886"/>
                </a:cubicBezTo>
                <a:cubicBezTo>
                  <a:pt x="2129815" y="6373886"/>
                  <a:pt x="2126600" y="6372919"/>
                  <a:pt x="2124403" y="6370984"/>
                </a:cubicBezTo>
                <a:cubicBezTo>
                  <a:pt x="2122206" y="6369049"/>
                  <a:pt x="2121108" y="6366631"/>
                  <a:pt x="2121108" y="6363729"/>
                </a:cubicBezTo>
                <a:cubicBezTo>
                  <a:pt x="2121108" y="6361834"/>
                  <a:pt x="2121612" y="6360111"/>
                  <a:pt x="2122620" y="6358559"/>
                </a:cubicBezTo>
                <a:cubicBezTo>
                  <a:pt x="2123627" y="6357007"/>
                  <a:pt x="2125058" y="6355828"/>
                  <a:pt x="2126912" y="6355022"/>
                </a:cubicBezTo>
                <a:cubicBezTo>
                  <a:pt x="2128767" y="6354216"/>
                  <a:pt x="2131931" y="6353491"/>
                  <a:pt x="2136405" y="6352846"/>
                </a:cubicBezTo>
                <a:cubicBezTo>
                  <a:pt x="2144305" y="6351717"/>
                  <a:pt x="2150230" y="6350347"/>
                  <a:pt x="2154181" y="6348734"/>
                </a:cubicBezTo>
                <a:close/>
                <a:moveTo>
                  <a:pt x="1430280" y="6348734"/>
                </a:moveTo>
                <a:lnTo>
                  <a:pt x="1430280" y="6352725"/>
                </a:lnTo>
                <a:cubicBezTo>
                  <a:pt x="1430280" y="6357521"/>
                  <a:pt x="1429696" y="6361149"/>
                  <a:pt x="1428527" y="6363608"/>
                </a:cubicBezTo>
                <a:cubicBezTo>
                  <a:pt x="1426996" y="6366792"/>
                  <a:pt x="1424597" y="6369301"/>
                  <a:pt x="1421332" y="6371135"/>
                </a:cubicBezTo>
                <a:cubicBezTo>
                  <a:pt x="1418067" y="6372969"/>
                  <a:pt x="1414339" y="6373886"/>
                  <a:pt x="1410147" y="6373886"/>
                </a:cubicBezTo>
                <a:cubicBezTo>
                  <a:pt x="1405915" y="6373886"/>
                  <a:pt x="1402700" y="6372919"/>
                  <a:pt x="1400503" y="6370984"/>
                </a:cubicBezTo>
                <a:cubicBezTo>
                  <a:pt x="1398307" y="6369049"/>
                  <a:pt x="1397208" y="6366631"/>
                  <a:pt x="1397208" y="6363729"/>
                </a:cubicBezTo>
                <a:cubicBezTo>
                  <a:pt x="1397208" y="6361834"/>
                  <a:pt x="1397712" y="6360111"/>
                  <a:pt x="1398720" y="6358559"/>
                </a:cubicBezTo>
                <a:cubicBezTo>
                  <a:pt x="1399727" y="6357007"/>
                  <a:pt x="1401158" y="6355828"/>
                  <a:pt x="1403012" y="6355022"/>
                </a:cubicBezTo>
                <a:cubicBezTo>
                  <a:pt x="1404866" y="6354216"/>
                  <a:pt x="1408031" y="6353491"/>
                  <a:pt x="1412505" y="6352846"/>
                </a:cubicBezTo>
                <a:cubicBezTo>
                  <a:pt x="1420405" y="6351717"/>
                  <a:pt x="1426330" y="6350347"/>
                  <a:pt x="1430280" y="6348734"/>
                </a:cubicBezTo>
                <a:close/>
                <a:moveTo>
                  <a:pt x="1167697" y="6324308"/>
                </a:moveTo>
                <a:cubicBezTo>
                  <a:pt x="1173057" y="6324308"/>
                  <a:pt x="1177542" y="6326354"/>
                  <a:pt x="1181149" y="6330445"/>
                </a:cubicBezTo>
                <a:cubicBezTo>
                  <a:pt x="1184757" y="6334536"/>
                  <a:pt x="1186560" y="6340552"/>
                  <a:pt x="1186560" y="6348492"/>
                </a:cubicBezTo>
                <a:cubicBezTo>
                  <a:pt x="1186560" y="6356917"/>
                  <a:pt x="1184767" y="6363185"/>
                  <a:pt x="1181179" y="6367296"/>
                </a:cubicBezTo>
                <a:cubicBezTo>
                  <a:pt x="1177592" y="6371407"/>
                  <a:pt x="1173098" y="6373463"/>
                  <a:pt x="1167697" y="6373463"/>
                </a:cubicBezTo>
                <a:cubicBezTo>
                  <a:pt x="1162255" y="6373463"/>
                  <a:pt x="1157740" y="6371417"/>
                  <a:pt x="1154153" y="6367326"/>
                </a:cubicBezTo>
                <a:cubicBezTo>
                  <a:pt x="1150566" y="6363235"/>
                  <a:pt x="1148772" y="6357078"/>
                  <a:pt x="1148772" y="6348855"/>
                </a:cubicBezTo>
                <a:cubicBezTo>
                  <a:pt x="1148772" y="6340632"/>
                  <a:pt x="1150566" y="6334486"/>
                  <a:pt x="1154153" y="6330414"/>
                </a:cubicBezTo>
                <a:cubicBezTo>
                  <a:pt x="1157740" y="6326343"/>
                  <a:pt x="1162255" y="6324308"/>
                  <a:pt x="1167697" y="6324308"/>
                </a:cubicBezTo>
                <a:close/>
                <a:moveTo>
                  <a:pt x="1939645" y="6324247"/>
                </a:moveTo>
                <a:cubicBezTo>
                  <a:pt x="1945167" y="6324247"/>
                  <a:pt x="1949661" y="6326343"/>
                  <a:pt x="1953128" y="6330535"/>
                </a:cubicBezTo>
                <a:cubicBezTo>
                  <a:pt x="1955385" y="6333236"/>
                  <a:pt x="1956755" y="6337287"/>
                  <a:pt x="1957239" y="6342688"/>
                </a:cubicBezTo>
                <a:lnTo>
                  <a:pt x="1921386" y="6342688"/>
                </a:lnTo>
                <a:cubicBezTo>
                  <a:pt x="1921748" y="6337085"/>
                  <a:pt x="1923633" y="6332611"/>
                  <a:pt x="1927039" y="6329266"/>
                </a:cubicBezTo>
                <a:cubicBezTo>
                  <a:pt x="1930444" y="6325920"/>
                  <a:pt x="1934647" y="6324247"/>
                  <a:pt x="1939645" y="6324247"/>
                </a:cubicBezTo>
                <a:close/>
                <a:moveTo>
                  <a:pt x="929995" y="6324247"/>
                </a:moveTo>
                <a:cubicBezTo>
                  <a:pt x="935517" y="6324247"/>
                  <a:pt x="940011" y="6326343"/>
                  <a:pt x="943478" y="6330535"/>
                </a:cubicBezTo>
                <a:cubicBezTo>
                  <a:pt x="945735" y="6333236"/>
                  <a:pt x="947105" y="6337287"/>
                  <a:pt x="947589" y="6342688"/>
                </a:cubicBezTo>
                <a:lnTo>
                  <a:pt x="911735" y="6342688"/>
                </a:lnTo>
                <a:cubicBezTo>
                  <a:pt x="912098" y="6337085"/>
                  <a:pt x="913982" y="6332611"/>
                  <a:pt x="917388" y="6329266"/>
                </a:cubicBezTo>
                <a:cubicBezTo>
                  <a:pt x="920794" y="6325920"/>
                  <a:pt x="924996" y="6324247"/>
                  <a:pt x="929995" y="6324247"/>
                </a:cubicBezTo>
                <a:close/>
                <a:moveTo>
                  <a:pt x="635687" y="6324247"/>
                </a:moveTo>
                <a:cubicBezTo>
                  <a:pt x="640403" y="6324247"/>
                  <a:pt x="644424" y="6326243"/>
                  <a:pt x="647749" y="6330233"/>
                </a:cubicBezTo>
                <a:cubicBezTo>
                  <a:pt x="651074" y="6334224"/>
                  <a:pt x="652737" y="6340411"/>
                  <a:pt x="652737" y="6348795"/>
                </a:cubicBezTo>
                <a:cubicBezTo>
                  <a:pt x="652737" y="6356977"/>
                  <a:pt x="651004" y="6363134"/>
                  <a:pt x="647537" y="6367266"/>
                </a:cubicBezTo>
                <a:cubicBezTo>
                  <a:pt x="644071" y="6371397"/>
                  <a:pt x="639960" y="6373463"/>
                  <a:pt x="635203" y="6373463"/>
                </a:cubicBezTo>
                <a:cubicBezTo>
                  <a:pt x="629359" y="6373463"/>
                  <a:pt x="624723" y="6370662"/>
                  <a:pt x="621297" y="6365059"/>
                </a:cubicBezTo>
                <a:cubicBezTo>
                  <a:pt x="619201" y="6361633"/>
                  <a:pt x="618153" y="6356070"/>
                  <a:pt x="618153" y="6348372"/>
                </a:cubicBezTo>
                <a:cubicBezTo>
                  <a:pt x="618153" y="6340552"/>
                  <a:pt x="619886" y="6334576"/>
                  <a:pt x="623353" y="6330445"/>
                </a:cubicBezTo>
                <a:cubicBezTo>
                  <a:pt x="626819" y="6326313"/>
                  <a:pt x="630931" y="6324247"/>
                  <a:pt x="635687" y="6324247"/>
                </a:cubicBezTo>
                <a:close/>
                <a:moveTo>
                  <a:pt x="808323" y="6316750"/>
                </a:moveTo>
                <a:lnTo>
                  <a:pt x="808323" y="6380960"/>
                </a:lnTo>
                <a:lnTo>
                  <a:pt x="819206" y="6380960"/>
                </a:lnTo>
                <a:lnTo>
                  <a:pt x="819206" y="6316750"/>
                </a:lnTo>
                <a:close/>
                <a:moveTo>
                  <a:pt x="674671" y="6316750"/>
                </a:moveTo>
                <a:lnTo>
                  <a:pt x="674671" y="6356534"/>
                </a:lnTo>
                <a:cubicBezTo>
                  <a:pt x="674671" y="6361169"/>
                  <a:pt x="674892" y="6364555"/>
                  <a:pt x="675336" y="6366691"/>
                </a:cubicBezTo>
                <a:cubicBezTo>
                  <a:pt x="675981" y="6369876"/>
                  <a:pt x="677099" y="6372566"/>
                  <a:pt x="678691" y="6374763"/>
                </a:cubicBezTo>
                <a:cubicBezTo>
                  <a:pt x="680283" y="6376960"/>
                  <a:pt x="682722" y="6378784"/>
                  <a:pt x="686007" y="6380235"/>
                </a:cubicBezTo>
                <a:cubicBezTo>
                  <a:pt x="689292" y="6381686"/>
                  <a:pt x="692829" y="6382411"/>
                  <a:pt x="696618" y="6382411"/>
                </a:cubicBezTo>
                <a:cubicBezTo>
                  <a:pt x="705204" y="6382411"/>
                  <a:pt x="711996" y="6378784"/>
                  <a:pt x="716994" y="6371528"/>
                </a:cubicBezTo>
                <a:lnTo>
                  <a:pt x="716994" y="6380960"/>
                </a:lnTo>
                <a:lnTo>
                  <a:pt x="726728" y="6380960"/>
                </a:lnTo>
                <a:lnTo>
                  <a:pt x="726728" y="6316750"/>
                </a:lnTo>
                <a:lnTo>
                  <a:pt x="715845" y="6316750"/>
                </a:lnTo>
                <a:lnTo>
                  <a:pt x="715845" y="6351153"/>
                </a:lnTo>
                <a:cubicBezTo>
                  <a:pt x="715845" y="6356635"/>
                  <a:pt x="715250" y="6360817"/>
                  <a:pt x="714061" y="6363699"/>
                </a:cubicBezTo>
                <a:cubicBezTo>
                  <a:pt x="712872" y="6366581"/>
                  <a:pt x="710847" y="6368858"/>
                  <a:pt x="707985" y="6370531"/>
                </a:cubicBezTo>
                <a:cubicBezTo>
                  <a:pt x="705123" y="6372203"/>
                  <a:pt x="702060" y="6373040"/>
                  <a:pt x="698795" y="6373040"/>
                </a:cubicBezTo>
                <a:cubicBezTo>
                  <a:pt x="695530" y="6373040"/>
                  <a:pt x="692789" y="6372224"/>
                  <a:pt x="690572" y="6370591"/>
                </a:cubicBezTo>
                <a:cubicBezTo>
                  <a:pt x="688355" y="6368959"/>
                  <a:pt x="686904" y="6366712"/>
                  <a:pt x="686219" y="6363850"/>
                </a:cubicBezTo>
                <a:cubicBezTo>
                  <a:pt x="685775" y="6361875"/>
                  <a:pt x="685554" y="6358045"/>
                  <a:pt x="685554" y="6352362"/>
                </a:cubicBezTo>
                <a:lnTo>
                  <a:pt x="685554" y="6316750"/>
                </a:lnTo>
                <a:close/>
                <a:moveTo>
                  <a:pt x="2210093" y="6315299"/>
                </a:moveTo>
                <a:cubicBezTo>
                  <a:pt x="2201185" y="6315299"/>
                  <a:pt x="2194373" y="6318826"/>
                  <a:pt x="2189658" y="6325880"/>
                </a:cubicBezTo>
                <a:lnTo>
                  <a:pt x="2189658" y="6316750"/>
                </a:lnTo>
                <a:lnTo>
                  <a:pt x="2179863" y="6316750"/>
                </a:lnTo>
                <a:lnTo>
                  <a:pt x="2179863" y="6380960"/>
                </a:lnTo>
                <a:lnTo>
                  <a:pt x="2190746" y="6380960"/>
                </a:lnTo>
                <a:lnTo>
                  <a:pt x="2190746" y="6345893"/>
                </a:lnTo>
                <a:cubicBezTo>
                  <a:pt x="2190746" y="6337670"/>
                  <a:pt x="2192429" y="6332087"/>
                  <a:pt x="2195794" y="6329145"/>
                </a:cubicBezTo>
                <a:cubicBezTo>
                  <a:pt x="2199160" y="6326202"/>
                  <a:pt x="2203160" y="6324731"/>
                  <a:pt x="2207796" y="6324731"/>
                </a:cubicBezTo>
                <a:cubicBezTo>
                  <a:pt x="2210698" y="6324731"/>
                  <a:pt x="2213227" y="6325386"/>
                  <a:pt x="2215384" y="6326696"/>
                </a:cubicBezTo>
                <a:cubicBezTo>
                  <a:pt x="2217540" y="6328006"/>
                  <a:pt x="2219042" y="6329760"/>
                  <a:pt x="2219888" y="6331956"/>
                </a:cubicBezTo>
                <a:cubicBezTo>
                  <a:pt x="2220734" y="6334153"/>
                  <a:pt x="2221158" y="6337468"/>
                  <a:pt x="2221158" y="6341902"/>
                </a:cubicBezTo>
                <a:lnTo>
                  <a:pt x="2221158" y="6380960"/>
                </a:lnTo>
                <a:lnTo>
                  <a:pt x="2232041" y="6380960"/>
                </a:lnTo>
                <a:lnTo>
                  <a:pt x="2232041" y="6341479"/>
                </a:lnTo>
                <a:cubicBezTo>
                  <a:pt x="2232041" y="6336440"/>
                  <a:pt x="2231839" y="6332914"/>
                  <a:pt x="2231436" y="6330898"/>
                </a:cubicBezTo>
                <a:cubicBezTo>
                  <a:pt x="2230791" y="6327795"/>
                  <a:pt x="2229663" y="6325114"/>
                  <a:pt x="2228051" y="6322857"/>
                </a:cubicBezTo>
                <a:cubicBezTo>
                  <a:pt x="2226438" y="6320600"/>
                  <a:pt x="2224010" y="6318776"/>
                  <a:pt x="2220765" y="6317385"/>
                </a:cubicBezTo>
                <a:cubicBezTo>
                  <a:pt x="2217520" y="6315994"/>
                  <a:pt x="2213963" y="6315299"/>
                  <a:pt x="2210093" y="6315299"/>
                </a:cubicBezTo>
                <a:close/>
                <a:moveTo>
                  <a:pt x="2140335" y="6315299"/>
                </a:moveTo>
                <a:cubicBezTo>
                  <a:pt x="2134813" y="6315299"/>
                  <a:pt x="2129956" y="6316055"/>
                  <a:pt x="2125764" y="6317566"/>
                </a:cubicBezTo>
                <a:cubicBezTo>
                  <a:pt x="2121572" y="6319078"/>
                  <a:pt x="2118367" y="6321234"/>
                  <a:pt x="2116150" y="6324036"/>
                </a:cubicBezTo>
                <a:cubicBezTo>
                  <a:pt x="2113933" y="6326837"/>
                  <a:pt x="2112341" y="6330515"/>
                  <a:pt x="2111374" y="6335070"/>
                </a:cubicBezTo>
                <a:lnTo>
                  <a:pt x="2122015" y="6336521"/>
                </a:lnTo>
                <a:cubicBezTo>
                  <a:pt x="2123184" y="6331966"/>
                  <a:pt x="2124988" y="6328792"/>
                  <a:pt x="2127426" y="6326998"/>
                </a:cubicBezTo>
                <a:cubicBezTo>
                  <a:pt x="2129865" y="6325205"/>
                  <a:pt x="2133644" y="6324308"/>
                  <a:pt x="2138763" y="6324308"/>
                </a:cubicBezTo>
                <a:cubicBezTo>
                  <a:pt x="2144245" y="6324308"/>
                  <a:pt x="2148376" y="6325537"/>
                  <a:pt x="2151158" y="6327996"/>
                </a:cubicBezTo>
                <a:cubicBezTo>
                  <a:pt x="2153213" y="6329810"/>
                  <a:pt x="2154241" y="6332934"/>
                  <a:pt x="2154241" y="6337368"/>
                </a:cubicBezTo>
                <a:cubicBezTo>
                  <a:pt x="2154241" y="6337771"/>
                  <a:pt x="2154221" y="6338718"/>
                  <a:pt x="2154181" y="6340209"/>
                </a:cubicBezTo>
                <a:cubicBezTo>
                  <a:pt x="2150029" y="6341660"/>
                  <a:pt x="2143559" y="6342910"/>
                  <a:pt x="2134772" y="6343958"/>
                </a:cubicBezTo>
                <a:cubicBezTo>
                  <a:pt x="2130459" y="6344482"/>
                  <a:pt x="2127235" y="6345026"/>
                  <a:pt x="2125099" y="6345590"/>
                </a:cubicBezTo>
                <a:cubicBezTo>
                  <a:pt x="2122196" y="6346396"/>
                  <a:pt x="2119586" y="6347586"/>
                  <a:pt x="2117269" y="6349158"/>
                </a:cubicBezTo>
                <a:cubicBezTo>
                  <a:pt x="2114951" y="6350730"/>
                  <a:pt x="2113077" y="6352815"/>
                  <a:pt x="2111646" y="6355415"/>
                </a:cubicBezTo>
                <a:cubicBezTo>
                  <a:pt x="2110215" y="6358015"/>
                  <a:pt x="2109499" y="6360887"/>
                  <a:pt x="2109499" y="6364031"/>
                </a:cubicBezTo>
                <a:cubicBezTo>
                  <a:pt x="2109499" y="6369392"/>
                  <a:pt x="2111394" y="6373796"/>
                  <a:pt x="2115183" y="6377242"/>
                </a:cubicBezTo>
                <a:cubicBezTo>
                  <a:pt x="2118972" y="6380688"/>
                  <a:pt x="2124393" y="6382411"/>
                  <a:pt x="2131447" y="6382411"/>
                </a:cubicBezTo>
                <a:cubicBezTo>
                  <a:pt x="2135720" y="6382411"/>
                  <a:pt x="2139720" y="6381706"/>
                  <a:pt x="2143449" y="6380295"/>
                </a:cubicBezTo>
                <a:cubicBezTo>
                  <a:pt x="2147177" y="6378884"/>
                  <a:pt x="2151057" y="6376466"/>
                  <a:pt x="2155088" y="6373040"/>
                </a:cubicBezTo>
                <a:cubicBezTo>
                  <a:pt x="2155410" y="6376063"/>
                  <a:pt x="2156135" y="6378703"/>
                  <a:pt x="2157264" y="6380960"/>
                </a:cubicBezTo>
                <a:lnTo>
                  <a:pt x="2168631" y="6380960"/>
                </a:lnTo>
                <a:cubicBezTo>
                  <a:pt x="2167260" y="6378501"/>
                  <a:pt x="2166343" y="6375932"/>
                  <a:pt x="2165880" y="6373251"/>
                </a:cubicBezTo>
                <a:cubicBezTo>
                  <a:pt x="2165416" y="6370571"/>
                  <a:pt x="2165184" y="6364172"/>
                  <a:pt x="2165184" y="6354055"/>
                </a:cubicBezTo>
                <a:lnTo>
                  <a:pt x="2165184" y="6339544"/>
                </a:lnTo>
                <a:cubicBezTo>
                  <a:pt x="2165184" y="6334707"/>
                  <a:pt x="2165003" y="6331362"/>
                  <a:pt x="2164640" y="6329508"/>
                </a:cubicBezTo>
                <a:cubicBezTo>
                  <a:pt x="2163995" y="6326525"/>
                  <a:pt x="2162867" y="6324056"/>
                  <a:pt x="2161254" y="6322101"/>
                </a:cubicBezTo>
                <a:cubicBezTo>
                  <a:pt x="2159642" y="6320146"/>
                  <a:pt x="2157123" y="6318524"/>
                  <a:pt x="2153697" y="6317234"/>
                </a:cubicBezTo>
                <a:cubicBezTo>
                  <a:pt x="2150271" y="6315944"/>
                  <a:pt x="2145817" y="6315299"/>
                  <a:pt x="2140335" y="6315299"/>
                </a:cubicBezTo>
                <a:close/>
                <a:moveTo>
                  <a:pt x="2076743" y="6315299"/>
                </a:moveTo>
                <a:cubicBezTo>
                  <a:pt x="2067835" y="6315299"/>
                  <a:pt x="2061023" y="6318826"/>
                  <a:pt x="2056308" y="6325880"/>
                </a:cubicBezTo>
                <a:lnTo>
                  <a:pt x="2056308" y="6316750"/>
                </a:lnTo>
                <a:lnTo>
                  <a:pt x="2046513" y="6316750"/>
                </a:lnTo>
                <a:lnTo>
                  <a:pt x="2046513" y="6380960"/>
                </a:lnTo>
                <a:lnTo>
                  <a:pt x="2057396" y="6380960"/>
                </a:lnTo>
                <a:lnTo>
                  <a:pt x="2057396" y="6345893"/>
                </a:lnTo>
                <a:cubicBezTo>
                  <a:pt x="2057396" y="6337670"/>
                  <a:pt x="2059078" y="6332087"/>
                  <a:pt x="2062444" y="6329145"/>
                </a:cubicBezTo>
                <a:cubicBezTo>
                  <a:pt x="2065810" y="6326202"/>
                  <a:pt x="2069810" y="6324731"/>
                  <a:pt x="2074446" y="6324731"/>
                </a:cubicBezTo>
                <a:cubicBezTo>
                  <a:pt x="2077348" y="6324731"/>
                  <a:pt x="2079877" y="6325386"/>
                  <a:pt x="2082034" y="6326696"/>
                </a:cubicBezTo>
                <a:cubicBezTo>
                  <a:pt x="2084190" y="6328006"/>
                  <a:pt x="2085691" y="6329760"/>
                  <a:pt x="2086538" y="6331956"/>
                </a:cubicBezTo>
                <a:cubicBezTo>
                  <a:pt x="2087384" y="6334153"/>
                  <a:pt x="2087808" y="6337468"/>
                  <a:pt x="2087808" y="6341902"/>
                </a:cubicBezTo>
                <a:lnTo>
                  <a:pt x="2087808" y="6380960"/>
                </a:lnTo>
                <a:lnTo>
                  <a:pt x="2098691" y="6380960"/>
                </a:lnTo>
                <a:lnTo>
                  <a:pt x="2098691" y="6341479"/>
                </a:lnTo>
                <a:cubicBezTo>
                  <a:pt x="2098691" y="6336440"/>
                  <a:pt x="2098489" y="6332914"/>
                  <a:pt x="2098086" y="6330898"/>
                </a:cubicBezTo>
                <a:cubicBezTo>
                  <a:pt x="2097441" y="6327795"/>
                  <a:pt x="2096313" y="6325114"/>
                  <a:pt x="2094701" y="6322857"/>
                </a:cubicBezTo>
                <a:cubicBezTo>
                  <a:pt x="2093088" y="6320600"/>
                  <a:pt x="2090660" y="6318776"/>
                  <a:pt x="2087415" y="6317385"/>
                </a:cubicBezTo>
                <a:cubicBezTo>
                  <a:pt x="2084170" y="6315994"/>
                  <a:pt x="2080613" y="6315299"/>
                  <a:pt x="2076743" y="6315299"/>
                </a:cubicBezTo>
                <a:close/>
                <a:moveTo>
                  <a:pt x="2010068" y="6315299"/>
                </a:moveTo>
                <a:cubicBezTo>
                  <a:pt x="2001160" y="6315299"/>
                  <a:pt x="1994348" y="6318826"/>
                  <a:pt x="1989632" y="6325880"/>
                </a:cubicBezTo>
                <a:lnTo>
                  <a:pt x="1989632" y="6316750"/>
                </a:lnTo>
                <a:lnTo>
                  <a:pt x="1979838" y="6316750"/>
                </a:lnTo>
                <a:lnTo>
                  <a:pt x="1979838" y="6380960"/>
                </a:lnTo>
                <a:lnTo>
                  <a:pt x="1990721" y="6380960"/>
                </a:lnTo>
                <a:lnTo>
                  <a:pt x="1990721" y="6345893"/>
                </a:lnTo>
                <a:cubicBezTo>
                  <a:pt x="1990721" y="6337670"/>
                  <a:pt x="1992404" y="6332087"/>
                  <a:pt x="1995769" y="6329145"/>
                </a:cubicBezTo>
                <a:cubicBezTo>
                  <a:pt x="1999135" y="6326202"/>
                  <a:pt x="2003135" y="6324731"/>
                  <a:pt x="2007771" y="6324731"/>
                </a:cubicBezTo>
                <a:cubicBezTo>
                  <a:pt x="2010673" y="6324731"/>
                  <a:pt x="2013202" y="6325386"/>
                  <a:pt x="2015359" y="6326696"/>
                </a:cubicBezTo>
                <a:cubicBezTo>
                  <a:pt x="2017515" y="6328006"/>
                  <a:pt x="2019017" y="6329760"/>
                  <a:pt x="2019863" y="6331956"/>
                </a:cubicBezTo>
                <a:cubicBezTo>
                  <a:pt x="2020709" y="6334153"/>
                  <a:pt x="2021133" y="6337468"/>
                  <a:pt x="2021133" y="6341902"/>
                </a:cubicBezTo>
                <a:lnTo>
                  <a:pt x="2021133" y="6380960"/>
                </a:lnTo>
                <a:lnTo>
                  <a:pt x="2032016" y="6380960"/>
                </a:lnTo>
                <a:lnTo>
                  <a:pt x="2032016" y="6341479"/>
                </a:lnTo>
                <a:cubicBezTo>
                  <a:pt x="2032016" y="6336440"/>
                  <a:pt x="2031814" y="6332914"/>
                  <a:pt x="2031411" y="6330898"/>
                </a:cubicBezTo>
                <a:cubicBezTo>
                  <a:pt x="2030766" y="6327795"/>
                  <a:pt x="2029638" y="6325114"/>
                  <a:pt x="2028025" y="6322857"/>
                </a:cubicBezTo>
                <a:cubicBezTo>
                  <a:pt x="2026413" y="6320600"/>
                  <a:pt x="2023984" y="6318776"/>
                  <a:pt x="2020740" y="6317385"/>
                </a:cubicBezTo>
                <a:cubicBezTo>
                  <a:pt x="2017495" y="6315994"/>
                  <a:pt x="2013938" y="6315299"/>
                  <a:pt x="2010068" y="6315299"/>
                </a:cubicBezTo>
                <a:close/>
                <a:moveTo>
                  <a:pt x="1939524" y="6315299"/>
                </a:moveTo>
                <a:cubicBezTo>
                  <a:pt x="1930656" y="6315299"/>
                  <a:pt x="1923441" y="6318282"/>
                  <a:pt x="1917879" y="6324247"/>
                </a:cubicBezTo>
                <a:cubicBezTo>
                  <a:pt x="1912316" y="6330213"/>
                  <a:pt x="1909535" y="6338597"/>
                  <a:pt x="1909535" y="6349399"/>
                </a:cubicBezTo>
                <a:cubicBezTo>
                  <a:pt x="1909535" y="6359839"/>
                  <a:pt x="1912286" y="6367951"/>
                  <a:pt x="1917788" y="6373735"/>
                </a:cubicBezTo>
                <a:cubicBezTo>
                  <a:pt x="1923290" y="6379519"/>
                  <a:pt x="1930737" y="6382411"/>
                  <a:pt x="1940128" y="6382411"/>
                </a:cubicBezTo>
                <a:cubicBezTo>
                  <a:pt x="1947585" y="6382411"/>
                  <a:pt x="1953712" y="6380597"/>
                  <a:pt x="1958509" y="6376970"/>
                </a:cubicBezTo>
                <a:cubicBezTo>
                  <a:pt x="1963305" y="6373342"/>
                  <a:pt x="1966590" y="6368243"/>
                  <a:pt x="1968364" y="6361673"/>
                </a:cubicBezTo>
                <a:lnTo>
                  <a:pt x="1957118" y="6360282"/>
                </a:lnTo>
                <a:cubicBezTo>
                  <a:pt x="1955465" y="6364878"/>
                  <a:pt x="1953228" y="6368223"/>
                  <a:pt x="1950407" y="6370319"/>
                </a:cubicBezTo>
                <a:cubicBezTo>
                  <a:pt x="1947585" y="6372415"/>
                  <a:pt x="1944179" y="6373463"/>
                  <a:pt x="1940189" y="6373463"/>
                </a:cubicBezTo>
                <a:cubicBezTo>
                  <a:pt x="1934828" y="6373463"/>
                  <a:pt x="1930354" y="6371589"/>
                  <a:pt x="1926766" y="6367840"/>
                </a:cubicBezTo>
                <a:cubicBezTo>
                  <a:pt x="1923179" y="6364092"/>
                  <a:pt x="1921184" y="6358690"/>
                  <a:pt x="1920781" y="6351636"/>
                </a:cubicBezTo>
                <a:lnTo>
                  <a:pt x="1968666" y="6351636"/>
                </a:lnTo>
                <a:cubicBezTo>
                  <a:pt x="1968706" y="6350347"/>
                  <a:pt x="1968727" y="6349379"/>
                  <a:pt x="1968727" y="6348734"/>
                </a:cubicBezTo>
                <a:cubicBezTo>
                  <a:pt x="1968727" y="6338133"/>
                  <a:pt x="1966006" y="6329911"/>
                  <a:pt x="1960564" y="6324066"/>
                </a:cubicBezTo>
                <a:cubicBezTo>
                  <a:pt x="1955123" y="6318221"/>
                  <a:pt x="1948109" y="6315299"/>
                  <a:pt x="1939524" y="6315299"/>
                </a:cubicBezTo>
                <a:close/>
                <a:moveTo>
                  <a:pt x="1805751" y="6315299"/>
                </a:moveTo>
                <a:cubicBezTo>
                  <a:pt x="1800229" y="6315299"/>
                  <a:pt x="1795119" y="6316599"/>
                  <a:pt x="1790424" y="6319199"/>
                </a:cubicBezTo>
                <a:cubicBezTo>
                  <a:pt x="1785728" y="6321799"/>
                  <a:pt x="1782231" y="6325699"/>
                  <a:pt x="1779934" y="6330898"/>
                </a:cubicBezTo>
                <a:cubicBezTo>
                  <a:pt x="1777636" y="6336098"/>
                  <a:pt x="1776487" y="6342164"/>
                  <a:pt x="1776487" y="6349097"/>
                </a:cubicBezTo>
                <a:cubicBezTo>
                  <a:pt x="1776487" y="6359819"/>
                  <a:pt x="1779158" y="6368052"/>
                  <a:pt x="1784498" y="6373796"/>
                </a:cubicBezTo>
                <a:cubicBezTo>
                  <a:pt x="1789839" y="6379539"/>
                  <a:pt x="1796903" y="6382411"/>
                  <a:pt x="1805690" y="6382411"/>
                </a:cubicBezTo>
                <a:cubicBezTo>
                  <a:pt x="1812704" y="6382411"/>
                  <a:pt x="1818619" y="6380325"/>
                  <a:pt x="1823436" y="6376154"/>
                </a:cubicBezTo>
                <a:cubicBezTo>
                  <a:pt x="1828252" y="6371982"/>
                  <a:pt x="1831245" y="6366208"/>
                  <a:pt x="1832414" y="6358831"/>
                </a:cubicBezTo>
                <a:lnTo>
                  <a:pt x="1821713" y="6357441"/>
                </a:lnTo>
                <a:cubicBezTo>
                  <a:pt x="1820947" y="6362882"/>
                  <a:pt x="1819133" y="6366913"/>
                  <a:pt x="1816271" y="6369533"/>
                </a:cubicBezTo>
                <a:cubicBezTo>
                  <a:pt x="1813409" y="6372153"/>
                  <a:pt x="1809842" y="6373463"/>
                  <a:pt x="1805569" y="6373463"/>
                </a:cubicBezTo>
                <a:cubicBezTo>
                  <a:pt x="1800249" y="6373463"/>
                  <a:pt x="1795936" y="6371508"/>
                  <a:pt x="1792631" y="6367598"/>
                </a:cubicBezTo>
                <a:cubicBezTo>
                  <a:pt x="1789325" y="6363688"/>
                  <a:pt x="1787673" y="6357421"/>
                  <a:pt x="1787673" y="6348795"/>
                </a:cubicBezTo>
                <a:cubicBezTo>
                  <a:pt x="1787673" y="6340290"/>
                  <a:pt x="1789386" y="6334072"/>
                  <a:pt x="1792812" y="6330142"/>
                </a:cubicBezTo>
                <a:cubicBezTo>
                  <a:pt x="1796238" y="6326212"/>
                  <a:pt x="1800692" y="6324247"/>
                  <a:pt x="1806174" y="6324247"/>
                </a:cubicBezTo>
                <a:cubicBezTo>
                  <a:pt x="1809802" y="6324247"/>
                  <a:pt x="1812895" y="6325336"/>
                  <a:pt x="1815455" y="6327512"/>
                </a:cubicBezTo>
                <a:cubicBezTo>
                  <a:pt x="1818014" y="6329689"/>
                  <a:pt x="1819798" y="6332934"/>
                  <a:pt x="1820805" y="6337247"/>
                </a:cubicBezTo>
                <a:lnTo>
                  <a:pt x="1831386" y="6335614"/>
                </a:lnTo>
                <a:cubicBezTo>
                  <a:pt x="1830137" y="6329125"/>
                  <a:pt x="1827295" y="6324116"/>
                  <a:pt x="1822861" y="6320590"/>
                </a:cubicBezTo>
                <a:cubicBezTo>
                  <a:pt x="1818427" y="6317063"/>
                  <a:pt x="1812724" y="6315299"/>
                  <a:pt x="1805751" y="6315299"/>
                </a:cubicBezTo>
                <a:close/>
                <a:moveTo>
                  <a:pt x="1515164" y="6315299"/>
                </a:moveTo>
                <a:cubicBezTo>
                  <a:pt x="1511818" y="6315299"/>
                  <a:pt x="1508684" y="6315732"/>
                  <a:pt x="1505762" y="6316599"/>
                </a:cubicBezTo>
                <a:cubicBezTo>
                  <a:pt x="1502839" y="6317466"/>
                  <a:pt x="1500532" y="6318524"/>
                  <a:pt x="1498839" y="6319773"/>
                </a:cubicBezTo>
                <a:cubicBezTo>
                  <a:pt x="1496582" y="6321386"/>
                  <a:pt x="1494798" y="6323411"/>
                  <a:pt x="1493488" y="6325850"/>
                </a:cubicBezTo>
                <a:cubicBezTo>
                  <a:pt x="1492178" y="6328288"/>
                  <a:pt x="1491523" y="6330938"/>
                  <a:pt x="1491523" y="6333800"/>
                </a:cubicBezTo>
                <a:cubicBezTo>
                  <a:pt x="1491523" y="6336944"/>
                  <a:pt x="1492319" y="6339816"/>
                  <a:pt x="1493912" y="6342416"/>
                </a:cubicBezTo>
                <a:cubicBezTo>
                  <a:pt x="1495504" y="6345016"/>
                  <a:pt x="1497842" y="6347051"/>
                  <a:pt x="1500925" y="6348523"/>
                </a:cubicBezTo>
                <a:cubicBezTo>
                  <a:pt x="1504008" y="6349994"/>
                  <a:pt x="1509541" y="6351737"/>
                  <a:pt x="1517522" y="6353753"/>
                </a:cubicBezTo>
                <a:cubicBezTo>
                  <a:pt x="1523447" y="6355244"/>
                  <a:pt x="1527155" y="6356473"/>
                  <a:pt x="1528647" y="6357441"/>
                </a:cubicBezTo>
                <a:cubicBezTo>
                  <a:pt x="1530783" y="6358852"/>
                  <a:pt x="1531851" y="6360786"/>
                  <a:pt x="1531851" y="6363245"/>
                </a:cubicBezTo>
                <a:cubicBezTo>
                  <a:pt x="1531851" y="6365986"/>
                  <a:pt x="1530642" y="6368374"/>
                  <a:pt x="1528223" y="6370410"/>
                </a:cubicBezTo>
                <a:cubicBezTo>
                  <a:pt x="1525805" y="6372445"/>
                  <a:pt x="1522096" y="6373463"/>
                  <a:pt x="1517099" y="6373463"/>
                </a:cubicBezTo>
                <a:cubicBezTo>
                  <a:pt x="1512140" y="6373463"/>
                  <a:pt x="1508281" y="6372314"/>
                  <a:pt x="1505520" y="6370017"/>
                </a:cubicBezTo>
                <a:cubicBezTo>
                  <a:pt x="1502759" y="6367719"/>
                  <a:pt x="1501076" y="6364414"/>
                  <a:pt x="1500471" y="6360101"/>
                </a:cubicBezTo>
                <a:lnTo>
                  <a:pt x="1489709" y="6361794"/>
                </a:lnTo>
                <a:cubicBezTo>
                  <a:pt x="1490919" y="6368606"/>
                  <a:pt x="1493710" y="6373745"/>
                  <a:pt x="1498083" y="6377212"/>
                </a:cubicBezTo>
                <a:cubicBezTo>
                  <a:pt x="1502457" y="6380678"/>
                  <a:pt x="1508815" y="6382411"/>
                  <a:pt x="1517159" y="6382411"/>
                </a:cubicBezTo>
                <a:cubicBezTo>
                  <a:pt x="1522197" y="6382411"/>
                  <a:pt x="1526712" y="6381535"/>
                  <a:pt x="1530702" y="6379781"/>
                </a:cubicBezTo>
                <a:cubicBezTo>
                  <a:pt x="1534693" y="6378028"/>
                  <a:pt x="1537746" y="6375549"/>
                  <a:pt x="1539862" y="6372344"/>
                </a:cubicBezTo>
                <a:cubicBezTo>
                  <a:pt x="1541978" y="6369140"/>
                  <a:pt x="1543036" y="6365724"/>
                  <a:pt x="1543036" y="6362096"/>
                </a:cubicBezTo>
                <a:cubicBezTo>
                  <a:pt x="1543036" y="6358388"/>
                  <a:pt x="1542170" y="6355284"/>
                  <a:pt x="1540436" y="6352785"/>
                </a:cubicBezTo>
                <a:cubicBezTo>
                  <a:pt x="1538703" y="6350286"/>
                  <a:pt x="1536315" y="6348382"/>
                  <a:pt x="1533272" y="6347072"/>
                </a:cubicBezTo>
                <a:cubicBezTo>
                  <a:pt x="1530229" y="6345762"/>
                  <a:pt x="1524858" y="6344079"/>
                  <a:pt x="1517159" y="6342023"/>
                </a:cubicBezTo>
                <a:cubicBezTo>
                  <a:pt x="1511838" y="6340572"/>
                  <a:pt x="1508634" y="6339645"/>
                  <a:pt x="1507546" y="6339242"/>
                </a:cubicBezTo>
                <a:cubicBezTo>
                  <a:pt x="1505651" y="6338476"/>
                  <a:pt x="1504260" y="6337509"/>
                  <a:pt x="1503374" y="6336340"/>
                </a:cubicBezTo>
                <a:cubicBezTo>
                  <a:pt x="1502487" y="6335211"/>
                  <a:pt x="1502043" y="6333941"/>
                  <a:pt x="1502043" y="6332531"/>
                </a:cubicBezTo>
                <a:cubicBezTo>
                  <a:pt x="1502043" y="6330314"/>
                  <a:pt x="1503112" y="6328379"/>
                  <a:pt x="1505248" y="6326726"/>
                </a:cubicBezTo>
                <a:cubicBezTo>
                  <a:pt x="1507384" y="6325074"/>
                  <a:pt x="1510952" y="6324247"/>
                  <a:pt x="1515950" y="6324247"/>
                </a:cubicBezTo>
                <a:cubicBezTo>
                  <a:pt x="1520182" y="6324247"/>
                  <a:pt x="1523457" y="6325175"/>
                  <a:pt x="1525775" y="6327029"/>
                </a:cubicBezTo>
                <a:cubicBezTo>
                  <a:pt x="1528092" y="6328883"/>
                  <a:pt x="1529493" y="6331462"/>
                  <a:pt x="1529977" y="6334768"/>
                </a:cubicBezTo>
                <a:lnTo>
                  <a:pt x="1540618" y="6333317"/>
                </a:lnTo>
                <a:cubicBezTo>
                  <a:pt x="1539933" y="6329165"/>
                  <a:pt x="1538683" y="6325850"/>
                  <a:pt x="1536869" y="6323371"/>
                </a:cubicBezTo>
                <a:cubicBezTo>
                  <a:pt x="1535055" y="6320892"/>
                  <a:pt x="1532244" y="6318927"/>
                  <a:pt x="1528435" y="6317476"/>
                </a:cubicBezTo>
                <a:cubicBezTo>
                  <a:pt x="1524626" y="6316025"/>
                  <a:pt x="1520202" y="6315299"/>
                  <a:pt x="1515164" y="6315299"/>
                </a:cubicBezTo>
                <a:close/>
                <a:moveTo>
                  <a:pt x="1479543" y="6315299"/>
                </a:moveTo>
                <a:cubicBezTo>
                  <a:pt x="1477003" y="6315299"/>
                  <a:pt x="1474675" y="6316025"/>
                  <a:pt x="1472559" y="6317476"/>
                </a:cubicBezTo>
                <a:cubicBezTo>
                  <a:pt x="1470443" y="6318927"/>
                  <a:pt x="1468135" y="6321930"/>
                  <a:pt x="1465637" y="6326485"/>
                </a:cubicBezTo>
                <a:lnTo>
                  <a:pt x="1465637" y="6316750"/>
                </a:lnTo>
                <a:lnTo>
                  <a:pt x="1455842" y="6316750"/>
                </a:lnTo>
                <a:lnTo>
                  <a:pt x="1455842" y="6380960"/>
                </a:lnTo>
                <a:lnTo>
                  <a:pt x="1466725" y="6380960"/>
                </a:lnTo>
                <a:lnTo>
                  <a:pt x="1466725" y="6347344"/>
                </a:lnTo>
                <a:cubicBezTo>
                  <a:pt x="1466725" y="6342749"/>
                  <a:pt x="1467329" y="6338516"/>
                  <a:pt x="1468539" y="6334647"/>
                </a:cubicBezTo>
                <a:cubicBezTo>
                  <a:pt x="1469345" y="6332107"/>
                  <a:pt x="1470695" y="6330122"/>
                  <a:pt x="1472589" y="6328691"/>
                </a:cubicBezTo>
                <a:cubicBezTo>
                  <a:pt x="1474484" y="6327260"/>
                  <a:pt x="1476620" y="6326545"/>
                  <a:pt x="1478999" y="6326545"/>
                </a:cubicBezTo>
                <a:cubicBezTo>
                  <a:pt x="1481659" y="6326545"/>
                  <a:pt x="1484319" y="6327331"/>
                  <a:pt x="1486979" y="6328903"/>
                </a:cubicBezTo>
                <a:lnTo>
                  <a:pt x="1490728" y="6318806"/>
                </a:lnTo>
                <a:cubicBezTo>
                  <a:pt x="1486939" y="6316468"/>
                  <a:pt x="1483211" y="6315299"/>
                  <a:pt x="1479543" y="6315299"/>
                </a:cubicBezTo>
                <a:close/>
                <a:moveTo>
                  <a:pt x="1416435" y="6315299"/>
                </a:moveTo>
                <a:cubicBezTo>
                  <a:pt x="1410913" y="6315299"/>
                  <a:pt x="1406056" y="6316055"/>
                  <a:pt x="1401864" y="6317566"/>
                </a:cubicBezTo>
                <a:cubicBezTo>
                  <a:pt x="1397672" y="6319078"/>
                  <a:pt x="1394467" y="6321234"/>
                  <a:pt x="1392250" y="6324036"/>
                </a:cubicBezTo>
                <a:cubicBezTo>
                  <a:pt x="1390033" y="6326837"/>
                  <a:pt x="1388441" y="6330515"/>
                  <a:pt x="1387474" y="6335070"/>
                </a:cubicBezTo>
                <a:lnTo>
                  <a:pt x="1398115" y="6336521"/>
                </a:lnTo>
                <a:cubicBezTo>
                  <a:pt x="1399284" y="6331966"/>
                  <a:pt x="1401088" y="6328792"/>
                  <a:pt x="1403526" y="6326998"/>
                </a:cubicBezTo>
                <a:cubicBezTo>
                  <a:pt x="1405965" y="6325205"/>
                  <a:pt x="1409744" y="6324308"/>
                  <a:pt x="1414863" y="6324308"/>
                </a:cubicBezTo>
                <a:cubicBezTo>
                  <a:pt x="1420344" y="6324308"/>
                  <a:pt x="1424476" y="6325537"/>
                  <a:pt x="1427257" y="6327996"/>
                </a:cubicBezTo>
                <a:cubicBezTo>
                  <a:pt x="1429313" y="6329810"/>
                  <a:pt x="1430341" y="6332934"/>
                  <a:pt x="1430341" y="6337368"/>
                </a:cubicBezTo>
                <a:cubicBezTo>
                  <a:pt x="1430341" y="6337771"/>
                  <a:pt x="1430321" y="6338718"/>
                  <a:pt x="1430280" y="6340209"/>
                </a:cubicBezTo>
                <a:cubicBezTo>
                  <a:pt x="1426129" y="6341660"/>
                  <a:pt x="1419659" y="6342910"/>
                  <a:pt x="1410872" y="6343958"/>
                </a:cubicBezTo>
                <a:cubicBezTo>
                  <a:pt x="1406560" y="6344482"/>
                  <a:pt x="1403335" y="6345026"/>
                  <a:pt x="1401198" y="6345590"/>
                </a:cubicBezTo>
                <a:cubicBezTo>
                  <a:pt x="1398296" y="6346396"/>
                  <a:pt x="1395686" y="6347586"/>
                  <a:pt x="1393369" y="6349158"/>
                </a:cubicBezTo>
                <a:cubicBezTo>
                  <a:pt x="1391051" y="6350730"/>
                  <a:pt x="1389177" y="6352815"/>
                  <a:pt x="1387746" y="6355415"/>
                </a:cubicBezTo>
                <a:cubicBezTo>
                  <a:pt x="1386315" y="6358015"/>
                  <a:pt x="1385599" y="6360887"/>
                  <a:pt x="1385599" y="6364031"/>
                </a:cubicBezTo>
                <a:cubicBezTo>
                  <a:pt x="1385599" y="6369392"/>
                  <a:pt x="1387494" y="6373796"/>
                  <a:pt x="1391283" y="6377242"/>
                </a:cubicBezTo>
                <a:cubicBezTo>
                  <a:pt x="1395072" y="6380688"/>
                  <a:pt x="1400493" y="6382411"/>
                  <a:pt x="1407547" y="6382411"/>
                </a:cubicBezTo>
                <a:cubicBezTo>
                  <a:pt x="1411820" y="6382411"/>
                  <a:pt x="1415820" y="6381706"/>
                  <a:pt x="1419549" y="6380295"/>
                </a:cubicBezTo>
                <a:cubicBezTo>
                  <a:pt x="1423277" y="6378884"/>
                  <a:pt x="1427157" y="6376466"/>
                  <a:pt x="1431187" y="6373040"/>
                </a:cubicBezTo>
                <a:cubicBezTo>
                  <a:pt x="1431510" y="6376063"/>
                  <a:pt x="1432235" y="6378703"/>
                  <a:pt x="1433364" y="6380960"/>
                </a:cubicBezTo>
                <a:lnTo>
                  <a:pt x="1444731" y="6380960"/>
                </a:lnTo>
                <a:cubicBezTo>
                  <a:pt x="1443360" y="6378501"/>
                  <a:pt x="1442443" y="6375932"/>
                  <a:pt x="1441980" y="6373251"/>
                </a:cubicBezTo>
                <a:cubicBezTo>
                  <a:pt x="1441516" y="6370571"/>
                  <a:pt x="1441284" y="6364172"/>
                  <a:pt x="1441284" y="6354055"/>
                </a:cubicBezTo>
                <a:lnTo>
                  <a:pt x="1441284" y="6339544"/>
                </a:lnTo>
                <a:cubicBezTo>
                  <a:pt x="1441284" y="6334707"/>
                  <a:pt x="1441103" y="6331362"/>
                  <a:pt x="1440740" y="6329508"/>
                </a:cubicBezTo>
                <a:cubicBezTo>
                  <a:pt x="1440095" y="6326525"/>
                  <a:pt x="1438967" y="6324056"/>
                  <a:pt x="1437354" y="6322101"/>
                </a:cubicBezTo>
                <a:cubicBezTo>
                  <a:pt x="1435742" y="6320146"/>
                  <a:pt x="1433223" y="6318524"/>
                  <a:pt x="1429797" y="6317234"/>
                </a:cubicBezTo>
                <a:cubicBezTo>
                  <a:pt x="1426371" y="6315944"/>
                  <a:pt x="1421916" y="6315299"/>
                  <a:pt x="1416435" y="6315299"/>
                </a:cubicBezTo>
                <a:close/>
                <a:moveTo>
                  <a:pt x="1167697" y="6315299"/>
                </a:moveTo>
                <a:cubicBezTo>
                  <a:pt x="1159756" y="6315299"/>
                  <a:pt x="1153025" y="6317677"/>
                  <a:pt x="1147502" y="6322434"/>
                </a:cubicBezTo>
                <a:cubicBezTo>
                  <a:pt x="1140892" y="6328157"/>
                  <a:pt x="1137587" y="6336964"/>
                  <a:pt x="1137587" y="6348855"/>
                </a:cubicBezTo>
                <a:cubicBezTo>
                  <a:pt x="1137587" y="6359698"/>
                  <a:pt x="1140358" y="6368001"/>
                  <a:pt x="1145900" y="6373765"/>
                </a:cubicBezTo>
                <a:cubicBezTo>
                  <a:pt x="1151442" y="6379529"/>
                  <a:pt x="1158708" y="6382411"/>
                  <a:pt x="1167697" y="6382411"/>
                </a:cubicBezTo>
                <a:cubicBezTo>
                  <a:pt x="1173299" y="6382411"/>
                  <a:pt x="1178469" y="6381101"/>
                  <a:pt x="1183205" y="6378481"/>
                </a:cubicBezTo>
                <a:cubicBezTo>
                  <a:pt x="1187941" y="6375861"/>
                  <a:pt x="1191549" y="6372183"/>
                  <a:pt x="1194027" y="6367447"/>
                </a:cubicBezTo>
                <a:cubicBezTo>
                  <a:pt x="1196506" y="6362711"/>
                  <a:pt x="1197746" y="6356211"/>
                  <a:pt x="1197746" y="6347948"/>
                </a:cubicBezTo>
                <a:cubicBezTo>
                  <a:pt x="1197746" y="6337750"/>
                  <a:pt x="1194944" y="6329760"/>
                  <a:pt x="1189342" y="6323975"/>
                </a:cubicBezTo>
                <a:cubicBezTo>
                  <a:pt x="1183739" y="6318191"/>
                  <a:pt x="1176524" y="6315299"/>
                  <a:pt x="1167697" y="6315299"/>
                </a:cubicBezTo>
                <a:close/>
                <a:moveTo>
                  <a:pt x="1057964" y="6315299"/>
                </a:moveTo>
                <a:cubicBezTo>
                  <a:pt x="1054618" y="6315299"/>
                  <a:pt x="1051484" y="6315732"/>
                  <a:pt x="1048562" y="6316599"/>
                </a:cubicBezTo>
                <a:cubicBezTo>
                  <a:pt x="1045640" y="6317466"/>
                  <a:pt x="1043332" y="6318524"/>
                  <a:pt x="1041639" y="6319773"/>
                </a:cubicBezTo>
                <a:cubicBezTo>
                  <a:pt x="1039382" y="6321386"/>
                  <a:pt x="1037598" y="6323411"/>
                  <a:pt x="1036288" y="6325850"/>
                </a:cubicBezTo>
                <a:cubicBezTo>
                  <a:pt x="1034978" y="6328288"/>
                  <a:pt x="1034323" y="6330938"/>
                  <a:pt x="1034323" y="6333800"/>
                </a:cubicBezTo>
                <a:cubicBezTo>
                  <a:pt x="1034323" y="6336944"/>
                  <a:pt x="1035119" y="6339816"/>
                  <a:pt x="1036711" y="6342416"/>
                </a:cubicBezTo>
                <a:cubicBezTo>
                  <a:pt x="1038303" y="6345016"/>
                  <a:pt x="1040641" y="6347051"/>
                  <a:pt x="1043725" y="6348523"/>
                </a:cubicBezTo>
                <a:cubicBezTo>
                  <a:pt x="1046808" y="6349994"/>
                  <a:pt x="1052341" y="6351737"/>
                  <a:pt x="1060322" y="6353753"/>
                </a:cubicBezTo>
                <a:cubicBezTo>
                  <a:pt x="1066247" y="6355244"/>
                  <a:pt x="1069955" y="6356473"/>
                  <a:pt x="1071446" y="6357441"/>
                </a:cubicBezTo>
                <a:cubicBezTo>
                  <a:pt x="1073583" y="6358852"/>
                  <a:pt x="1074651" y="6360786"/>
                  <a:pt x="1074651" y="6363245"/>
                </a:cubicBezTo>
                <a:cubicBezTo>
                  <a:pt x="1074651" y="6365986"/>
                  <a:pt x="1073442" y="6368374"/>
                  <a:pt x="1071023" y="6370410"/>
                </a:cubicBezTo>
                <a:cubicBezTo>
                  <a:pt x="1068605" y="6372445"/>
                  <a:pt x="1064897" y="6373463"/>
                  <a:pt x="1059898" y="6373463"/>
                </a:cubicBezTo>
                <a:cubicBezTo>
                  <a:pt x="1054941" y="6373463"/>
                  <a:pt x="1051081" y="6372314"/>
                  <a:pt x="1048320" y="6370017"/>
                </a:cubicBezTo>
                <a:cubicBezTo>
                  <a:pt x="1045559" y="6367719"/>
                  <a:pt x="1043876" y="6364414"/>
                  <a:pt x="1043271" y="6360101"/>
                </a:cubicBezTo>
                <a:lnTo>
                  <a:pt x="1032509" y="6361794"/>
                </a:lnTo>
                <a:cubicBezTo>
                  <a:pt x="1033719" y="6368606"/>
                  <a:pt x="1036510" y="6373745"/>
                  <a:pt x="1040883" y="6377212"/>
                </a:cubicBezTo>
                <a:cubicBezTo>
                  <a:pt x="1045257" y="6380678"/>
                  <a:pt x="1051615" y="6382411"/>
                  <a:pt x="1059959" y="6382411"/>
                </a:cubicBezTo>
                <a:cubicBezTo>
                  <a:pt x="1064997" y="6382411"/>
                  <a:pt x="1069512" y="6381535"/>
                  <a:pt x="1073502" y="6379781"/>
                </a:cubicBezTo>
                <a:cubicBezTo>
                  <a:pt x="1077493" y="6378028"/>
                  <a:pt x="1080546" y="6375549"/>
                  <a:pt x="1082662" y="6372344"/>
                </a:cubicBezTo>
                <a:cubicBezTo>
                  <a:pt x="1084778" y="6369140"/>
                  <a:pt x="1085836" y="6365724"/>
                  <a:pt x="1085836" y="6362096"/>
                </a:cubicBezTo>
                <a:cubicBezTo>
                  <a:pt x="1085836" y="6358388"/>
                  <a:pt x="1084970" y="6355284"/>
                  <a:pt x="1083236" y="6352785"/>
                </a:cubicBezTo>
                <a:cubicBezTo>
                  <a:pt x="1081503" y="6350286"/>
                  <a:pt x="1079115" y="6348382"/>
                  <a:pt x="1076072" y="6347072"/>
                </a:cubicBezTo>
                <a:cubicBezTo>
                  <a:pt x="1073029" y="6345762"/>
                  <a:pt x="1067658" y="6344079"/>
                  <a:pt x="1059959" y="6342023"/>
                </a:cubicBezTo>
                <a:cubicBezTo>
                  <a:pt x="1054638" y="6340572"/>
                  <a:pt x="1051434" y="6339645"/>
                  <a:pt x="1050345" y="6339242"/>
                </a:cubicBezTo>
                <a:cubicBezTo>
                  <a:pt x="1048451" y="6338476"/>
                  <a:pt x="1047060" y="6337509"/>
                  <a:pt x="1046174" y="6336340"/>
                </a:cubicBezTo>
                <a:cubicBezTo>
                  <a:pt x="1045287" y="6335211"/>
                  <a:pt x="1044843" y="6333941"/>
                  <a:pt x="1044843" y="6332531"/>
                </a:cubicBezTo>
                <a:cubicBezTo>
                  <a:pt x="1044843" y="6330314"/>
                  <a:pt x="1045912" y="6328379"/>
                  <a:pt x="1048048" y="6326726"/>
                </a:cubicBezTo>
                <a:cubicBezTo>
                  <a:pt x="1050184" y="6325074"/>
                  <a:pt x="1053752" y="6324247"/>
                  <a:pt x="1058750" y="6324247"/>
                </a:cubicBezTo>
                <a:cubicBezTo>
                  <a:pt x="1062982" y="6324247"/>
                  <a:pt x="1066257" y="6325175"/>
                  <a:pt x="1068575" y="6327029"/>
                </a:cubicBezTo>
                <a:cubicBezTo>
                  <a:pt x="1070892" y="6328883"/>
                  <a:pt x="1072293" y="6331462"/>
                  <a:pt x="1072777" y="6334768"/>
                </a:cubicBezTo>
                <a:lnTo>
                  <a:pt x="1083418" y="6333317"/>
                </a:lnTo>
                <a:cubicBezTo>
                  <a:pt x="1082733" y="6329165"/>
                  <a:pt x="1081483" y="6325850"/>
                  <a:pt x="1079669" y="6323371"/>
                </a:cubicBezTo>
                <a:cubicBezTo>
                  <a:pt x="1077855" y="6320892"/>
                  <a:pt x="1075044" y="6318927"/>
                  <a:pt x="1071235" y="6317476"/>
                </a:cubicBezTo>
                <a:cubicBezTo>
                  <a:pt x="1067426" y="6316025"/>
                  <a:pt x="1063002" y="6315299"/>
                  <a:pt x="1057964" y="6315299"/>
                </a:cubicBezTo>
                <a:close/>
                <a:moveTo>
                  <a:pt x="991289" y="6315299"/>
                </a:moveTo>
                <a:cubicBezTo>
                  <a:pt x="987943" y="6315299"/>
                  <a:pt x="984809" y="6315732"/>
                  <a:pt x="981887" y="6316599"/>
                </a:cubicBezTo>
                <a:cubicBezTo>
                  <a:pt x="978964" y="6317466"/>
                  <a:pt x="976657" y="6318524"/>
                  <a:pt x="974964" y="6319773"/>
                </a:cubicBezTo>
                <a:cubicBezTo>
                  <a:pt x="972707" y="6321386"/>
                  <a:pt x="970923" y="6323411"/>
                  <a:pt x="969613" y="6325850"/>
                </a:cubicBezTo>
                <a:cubicBezTo>
                  <a:pt x="968303" y="6328288"/>
                  <a:pt x="967648" y="6330938"/>
                  <a:pt x="967648" y="6333800"/>
                </a:cubicBezTo>
                <a:cubicBezTo>
                  <a:pt x="967648" y="6336944"/>
                  <a:pt x="968444" y="6339816"/>
                  <a:pt x="970036" y="6342416"/>
                </a:cubicBezTo>
                <a:cubicBezTo>
                  <a:pt x="971629" y="6345016"/>
                  <a:pt x="973966" y="6347051"/>
                  <a:pt x="977050" y="6348523"/>
                </a:cubicBezTo>
                <a:cubicBezTo>
                  <a:pt x="980133" y="6349994"/>
                  <a:pt x="985666" y="6351737"/>
                  <a:pt x="993647" y="6353753"/>
                </a:cubicBezTo>
                <a:cubicBezTo>
                  <a:pt x="999572" y="6355244"/>
                  <a:pt x="1003280" y="6356473"/>
                  <a:pt x="1004771" y="6357441"/>
                </a:cubicBezTo>
                <a:cubicBezTo>
                  <a:pt x="1006908" y="6358852"/>
                  <a:pt x="1007976" y="6360786"/>
                  <a:pt x="1007976" y="6363245"/>
                </a:cubicBezTo>
                <a:cubicBezTo>
                  <a:pt x="1007976" y="6365986"/>
                  <a:pt x="1006767" y="6368374"/>
                  <a:pt x="1004348" y="6370410"/>
                </a:cubicBezTo>
                <a:cubicBezTo>
                  <a:pt x="1001930" y="6372445"/>
                  <a:pt x="998221" y="6373463"/>
                  <a:pt x="993223" y="6373463"/>
                </a:cubicBezTo>
                <a:cubicBezTo>
                  <a:pt x="988265" y="6373463"/>
                  <a:pt x="984406" y="6372314"/>
                  <a:pt x="981645" y="6370017"/>
                </a:cubicBezTo>
                <a:cubicBezTo>
                  <a:pt x="978884" y="6367719"/>
                  <a:pt x="977201" y="6364414"/>
                  <a:pt x="976597" y="6360101"/>
                </a:cubicBezTo>
                <a:lnTo>
                  <a:pt x="965834" y="6361794"/>
                </a:lnTo>
                <a:cubicBezTo>
                  <a:pt x="967043" y="6368606"/>
                  <a:pt x="969835" y="6373745"/>
                  <a:pt x="974208" y="6377212"/>
                </a:cubicBezTo>
                <a:cubicBezTo>
                  <a:pt x="978582" y="6380678"/>
                  <a:pt x="984940" y="6382411"/>
                  <a:pt x="993284" y="6382411"/>
                </a:cubicBezTo>
                <a:cubicBezTo>
                  <a:pt x="998322" y="6382411"/>
                  <a:pt x="1002837" y="6381535"/>
                  <a:pt x="1006827" y="6379781"/>
                </a:cubicBezTo>
                <a:cubicBezTo>
                  <a:pt x="1010818" y="6378028"/>
                  <a:pt x="1013871" y="6375549"/>
                  <a:pt x="1015987" y="6372344"/>
                </a:cubicBezTo>
                <a:cubicBezTo>
                  <a:pt x="1018103" y="6369140"/>
                  <a:pt x="1019161" y="6365724"/>
                  <a:pt x="1019161" y="6362096"/>
                </a:cubicBezTo>
                <a:cubicBezTo>
                  <a:pt x="1019161" y="6358388"/>
                  <a:pt x="1018295" y="6355284"/>
                  <a:pt x="1016561" y="6352785"/>
                </a:cubicBezTo>
                <a:cubicBezTo>
                  <a:pt x="1014828" y="6350286"/>
                  <a:pt x="1012440" y="6348382"/>
                  <a:pt x="1009397" y="6347072"/>
                </a:cubicBezTo>
                <a:cubicBezTo>
                  <a:pt x="1006353" y="6345762"/>
                  <a:pt x="1000983" y="6344079"/>
                  <a:pt x="993284" y="6342023"/>
                </a:cubicBezTo>
                <a:cubicBezTo>
                  <a:pt x="987963" y="6340572"/>
                  <a:pt x="984759" y="6339645"/>
                  <a:pt x="983670" y="6339242"/>
                </a:cubicBezTo>
                <a:cubicBezTo>
                  <a:pt x="981776" y="6338476"/>
                  <a:pt x="980385" y="6337509"/>
                  <a:pt x="979499" y="6336340"/>
                </a:cubicBezTo>
                <a:cubicBezTo>
                  <a:pt x="978612" y="6335211"/>
                  <a:pt x="978169" y="6333941"/>
                  <a:pt x="978169" y="6332531"/>
                </a:cubicBezTo>
                <a:cubicBezTo>
                  <a:pt x="978169" y="6330314"/>
                  <a:pt x="979237" y="6328379"/>
                  <a:pt x="981373" y="6326726"/>
                </a:cubicBezTo>
                <a:cubicBezTo>
                  <a:pt x="983509" y="6325074"/>
                  <a:pt x="987076" y="6324247"/>
                  <a:pt x="992075" y="6324247"/>
                </a:cubicBezTo>
                <a:cubicBezTo>
                  <a:pt x="996307" y="6324247"/>
                  <a:pt x="999582" y="6325175"/>
                  <a:pt x="1001899" y="6327029"/>
                </a:cubicBezTo>
                <a:cubicBezTo>
                  <a:pt x="1004217" y="6328883"/>
                  <a:pt x="1005618" y="6331462"/>
                  <a:pt x="1006102" y="6334768"/>
                </a:cubicBezTo>
                <a:lnTo>
                  <a:pt x="1016743" y="6333317"/>
                </a:lnTo>
                <a:cubicBezTo>
                  <a:pt x="1016058" y="6329165"/>
                  <a:pt x="1014808" y="6325850"/>
                  <a:pt x="1012994" y="6323371"/>
                </a:cubicBezTo>
                <a:cubicBezTo>
                  <a:pt x="1011180" y="6320892"/>
                  <a:pt x="1008369" y="6318927"/>
                  <a:pt x="1004560" y="6317476"/>
                </a:cubicBezTo>
                <a:cubicBezTo>
                  <a:pt x="1000751" y="6316025"/>
                  <a:pt x="996327" y="6315299"/>
                  <a:pt x="991289" y="6315299"/>
                </a:cubicBezTo>
                <a:close/>
                <a:moveTo>
                  <a:pt x="929874" y="6315299"/>
                </a:moveTo>
                <a:cubicBezTo>
                  <a:pt x="921006" y="6315299"/>
                  <a:pt x="913791" y="6318282"/>
                  <a:pt x="908228" y="6324247"/>
                </a:cubicBezTo>
                <a:cubicBezTo>
                  <a:pt x="902666" y="6330213"/>
                  <a:pt x="899885" y="6338597"/>
                  <a:pt x="899885" y="6349399"/>
                </a:cubicBezTo>
                <a:cubicBezTo>
                  <a:pt x="899885" y="6359839"/>
                  <a:pt x="902636" y="6367951"/>
                  <a:pt x="908138" y="6373735"/>
                </a:cubicBezTo>
                <a:cubicBezTo>
                  <a:pt x="913640" y="6379519"/>
                  <a:pt x="921087" y="6382411"/>
                  <a:pt x="930478" y="6382411"/>
                </a:cubicBezTo>
                <a:cubicBezTo>
                  <a:pt x="937935" y="6382411"/>
                  <a:pt x="944062" y="6380597"/>
                  <a:pt x="948859" y="6376970"/>
                </a:cubicBezTo>
                <a:cubicBezTo>
                  <a:pt x="953655" y="6373342"/>
                  <a:pt x="956940" y="6368243"/>
                  <a:pt x="958714" y="6361673"/>
                </a:cubicBezTo>
                <a:lnTo>
                  <a:pt x="947468" y="6360282"/>
                </a:lnTo>
                <a:cubicBezTo>
                  <a:pt x="945815" y="6364878"/>
                  <a:pt x="943578" y="6368223"/>
                  <a:pt x="940757" y="6370319"/>
                </a:cubicBezTo>
                <a:cubicBezTo>
                  <a:pt x="937935" y="6372415"/>
                  <a:pt x="934529" y="6373463"/>
                  <a:pt x="930539" y="6373463"/>
                </a:cubicBezTo>
                <a:cubicBezTo>
                  <a:pt x="925178" y="6373463"/>
                  <a:pt x="920704" y="6371589"/>
                  <a:pt x="917116" y="6367840"/>
                </a:cubicBezTo>
                <a:cubicBezTo>
                  <a:pt x="913529" y="6364092"/>
                  <a:pt x="911534" y="6358690"/>
                  <a:pt x="911131" y="6351636"/>
                </a:cubicBezTo>
                <a:lnTo>
                  <a:pt x="959016" y="6351636"/>
                </a:lnTo>
                <a:cubicBezTo>
                  <a:pt x="959056" y="6350347"/>
                  <a:pt x="959077" y="6349379"/>
                  <a:pt x="959077" y="6348734"/>
                </a:cubicBezTo>
                <a:cubicBezTo>
                  <a:pt x="959077" y="6338133"/>
                  <a:pt x="956356" y="6329911"/>
                  <a:pt x="950914" y="6324066"/>
                </a:cubicBezTo>
                <a:cubicBezTo>
                  <a:pt x="945473" y="6318221"/>
                  <a:pt x="938459" y="6315299"/>
                  <a:pt x="929874" y="6315299"/>
                </a:cubicBezTo>
                <a:close/>
                <a:moveTo>
                  <a:pt x="867068" y="6315299"/>
                </a:moveTo>
                <a:cubicBezTo>
                  <a:pt x="858160" y="6315299"/>
                  <a:pt x="851348" y="6318826"/>
                  <a:pt x="846632" y="6325880"/>
                </a:cubicBezTo>
                <a:lnTo>
                  <a:pt x="846632" y="6316750"/>
                </a:lnTo>
                <a:lnTo>
                  <a:pt x="836838" y="6316750"/>
                </a:lnTo>
                <a:lnTo>
                  <a:pt x="836838" y="6380960"/>
                </a:lnTo>
                <a:lnTo>
                  <a:pt x="847721" y="6380960"/>
                </a:lnTo>
                <a:lnTo>
                  <a:pt x="847721" y="6345893"/>
                </a:lnTo>
                <a:cubicBezTo>
                  <a:pt x="847721" y="6337670"/>
                  <a:pt x="849404" y="6332087"/>
                  <a:pt x="852769" y="6329145"/>
                </a:cubicBezTo>
                <a:cubicBezTo>
                  <a:pt x="856135" y="6326202"/>
                  <a:pt x="860135" y="6324731"/>
                  <a:pt x="864771" y="6324731"/>
                </a:cubicBezTo>
                <a:cubicBezTo>
                  <a:pt x="867673" y="6324731"/>
                  <a:pt x="870202" y="6325386"/>
                  <a:pt x="872359" y="6326696"/>
                </a:cubicBezTo>
                <a:cubicBezTo>
                  <a:pt x="874515" y="6328006"/>
                  <a:pt x="876017" y="6329760"/>
                  <a:pt x="876863" y="6331956"/>
                </a:cubicBezTo>
                <a:cubicBezTo>
                  <a:pt x="877709" y="6334153"/>
                  <a:pt x="878133" y="6337468"/>
                  <a:pt x="878133" y="6341902"/>
                </a:cubicBezTo>
                <a:lnTo>
                  <a:pt x="878133" y="6380960"/>
                </a:lnTo>
                <a:lnTo>
                  <a:pt x="889016" y="6380960"/>
                </a:lnTo>
                <a:lnTo>
                  <a:pt x="889016" y="6341479"/>
                </a:lnTo>
                <a:cubicBezTo>
                  <a:pt x="889016" y="6336440"/>
                  <a:pt x="888814" y="6332914"/>
                  <a:pt x="888411" y="6330898"/>
                </a:cubicBezTo>
                <a:cubicBezTo>
                  <a:pt x="887766" y="6327795"/>
                  <a:pt x="886638" y="6325114"/>
                  <a:pt x="885025" y="6322857"/>
                </a:cubicBezTo>
                <a:cubicBezTo>
                  <a:pt x="883413" y="6320600"/>
                  <a:pt x="880984" y="6318776"/>
                  <a:pt x="877740" y="6317385"/>
                </a:cubicBezTo>
                <a:cubicBezTo>
                  <a:pt x="874495" y="6315994"/>
                  <a:pt x="870938" y="6315299"/>
                  <a:pt x="867068" y="6315299"/>
                </a:cubicBezTo>
                <a:close/>
                <a:moveTo>
                  <a:pt x="762689" y="6315299"/>
                </a:moveTo>
                <a:cubicBezTo>
                  <a:pt x="759343" y="6315299"/>
                  <a:pt x="756209" y="6315732"/>
                  <a:pt x="753287" y="6316599"/>
                </a:cubicBezTo>
                <a:cubicBezTo>
                  <a:pt x="750365" y="6317466"/>
                  <a:pt x="748057" y="6318524"/>
                  <a:pt x="746364" y="6319773"/>
                </a:cubicBezTo>
                <a:cubicBezTo>
                  <a:pt x="744107" y="6321386"/>
                  <a:pt x="742323" y="6323411"/>
                  <a:pt x="741013" y="6325850"/>
                </a:cubicBezTo>
                <a:cubicBezTo>
                  <a:pt x="739703" y="6328288"/>
                  <a:pt x="739048" y="6330938"/>
                  <a:pt x="739048" y="6333800"/>
                </a:cubicBezTo>
                <a:cubicBezTo>
                  <a:pt x="739048" y="6336944"/>
                  <a:pt x="739844" y="6339816"/>
                  <a:pt x="741436" y="6342416"/>
                </a:cubicBezTo>
                <a:cubicBezTo>
                  <a:pt x="743029" y="6345016"/>
                  <a:pt x="745366" y="6347051"/>
                  <a:pt x="748450" y="6348523"/>
                </a:cubicBezTo>
                <a:cubicBezTo>
                  <a:pt x="751533" y="6349994"/>
                  <a:pt x="757066" y="6351737"/>
                  <a:pt x="765047" y="6353753"/>
                </a:cubicBezTo>
                <a:cubicBezTo>
                  <a:pt x="770972" y="6355244"/>
                  <a:pt x="774680" y="6356473"/>
                  <a:pt x="776171" y="6357441"/>
                </a:cubicBezTo>
                <a:cubicBezTo>
                  <a:pt x="778308" y="6358852"/>
                  <a:pt x="779376" y="6360786"/>
                  <a:pt x="779376" y="6363245"/>
                </a:cubicBezTo>
                <a:cubicBezTo>
                  <a:pt x="779376" y="6365986"/>
                  <a:pt x="778167" y="6368374"/>
                  <a:pt x="775748" y="6370410"/>
                </a:cubicBezTo>
                <a:cubicBezTo>
                  <a:pt x="773330" y="6372445"/>
                  <a:pt x="769622" y="6373463"/>
                  <a:pt x="764623" y="6373463"/>
                </a:cubicBezTo>
                <a:cubicBezTo>
                  <a:pt x="759665" y="6373463"/>
                  <a:pt x="755806" y="6372314"/>
                  <a:pt x="753045" y="6370017"/>
                </a:cubicBezTo>
                <a:cubicBezTo>
                  <a:pt x="750284" y="6367719"/>
                  <a:pt x="748601" y="6364414"/>
                  <a:pt x="747996" y="6360101"/>
                </a:cubicBezTo>
                <a:lnTo>
                  <a:pt x="737234" y="6361794"/>
                </a:lnTo>
                <a:cubicBezTo>
                  <a:pt x="738444" y="6368606"/>
                  <a:pt x="741235" y="6373745"/>
                  <a:pt x="745608" y="6377212"/>
                </a:cubicBezTo>
                <a:cubicBezTo>
                  <a:pt x="749982" y="6380678"/>
                  <a:pt x="756340" y="6382411"/>
                  <a:pt x="764684" y="6382411"/>
                </a:cubicBezTo>
                <a:cubicBezTo>
                  <a:pt x="769722" y="6382411"/>
                  <a:pt x="774237" y="6381535"/>
                  <a:pt x="778227" y="6379781"/>
                </a:cubicBezTo>
                <a:cubicBezTo>
                  <a:pt x="782218" y="6378028"/>
                  <a:pt x="785271" y="6375549"/>
                  <a:pt x="787387" y="6372344"/>
                </a:cubicBezTo>
                <a:cubicBezTo>
                  <a:pt x="789503" y="6369140"/>
                  <a:pt x="790561" y="6365724"/>
                  <a:pt x="790561" y="6362096"/>
                </a:cubicBezTo>
                <a:cubicBezTo>
                  <a:pt x="790561" y="6358388"/>
                  <a:pt x="789695" y="6355284"/>
                  <a:pt x="787961" y="6352785"/>
                </a:cubicBezTo>
                <a:cubicBezTo>
                  <a:pt x="786228" y="6350286"/>
                  <a:pt x="783840" y="6348382"/>
                  <a:pt x="780797" y="6347072"/>
                </a:cubicBezTo>
                <a:cubicBezTo>
                  <a:pt x="777753" y="6345762"/>
                  <a:pt x="772382" y="6344079"/>
                  <a:pt x="764684" y="6342023"/>
                </a:cubicBezTo>
                <a:cubicBezTo>
                  <a:pt x="759363" y="6340572"/>
                  <a:pt x="756159" y="6339645"/>
                  <a:pt x="755070" y="6339242"/>
                </a:cubicBezTo>
                <a:cubicBezTo>
                  <a:pt x="753176" y="6338476"/>
                  <a:pt x="751785" y="6337509"/>
                  <a:pt x="750899" y="6336340"/>
                </a:cubicBezTo>
                <a:cubicBezTo>
                  <a:pt x="750012" y="6335211"/>
                  <a:pt x="749568" y="6333941"/>
                  <a:pt x="749568" y="6332531"/>
                </a:cubicBezTo>
                <a:cubicBezTo>
                  <a:pt x="749568" y="6330314"/>
                  <a:pt x="750637" y="6328379"/>
                  <a:pt x="752773" y="6326726"/>
                </a:cubicBezTo>
                <a:cubicBezTo>
                  <a:pt x="754909" y="6325074"/>
                  <a:pt x="758476" y="6324247"/>
                  <a:pt x="763475" y="6324247"/>
                </a:cubicBezTo>
                <a:cubicBezTo>
                  <a:pt x="767707" y="6324247"/>
                  <a:pt x="770982" y="6325175"/>
                  <a:pt x="773300" y="6327029"/>
                </a:cubicBezTo>
                <a:cubicBezTo>
                  <a:pt x="775617" y="6328883"/>
                  <a:pt x="777018" y="6331462"/>
                  <a:pt x="777502" y="6334768"/>
                </a:cubicBezTo>
                <a:lnTo>
                  <a:pt x="788143" y="6333317"/>
                </a:lnTo>
                <a:cubicBezTo>
                  <a:pt x="787458" y="6329165"/>
                  <a:pt x="786208" y="6325850"/>
                  <a:pt x="784394" y="6323371"/>
                </a:cubicBezTo>
                <a:cubicBezTo>
                  <a:pt x="782580" y="6320892"/>
                  <a:pt x="779769" y="6318927"/>
                  <a:pt x="775960" y="6317476"/>
                </a:cubicBezTo>
                <a:cubicBezTo>
                  <a:pt x="772151" y="6316025"/>
                  <a:pt x="767727" y="6315299"/>
                  <a:pt x="762689" y="6315299"/>
                </a:cubicBezTo>
                <a:close/>
                <a:moveTo>
                  <a:pt x="525680" y="6301635"/>
                </a:moveTo>
                <a:cubicBezTo>
                  <a:pt x="527050" y="6306431"/>
                  <a:pt x="529146" y="6312558"/>
                  <a:pt x="531968" y="6320015"/>
                </a:cubicBezTo>
                <a:lnTo>
                  <a:pt x="541218" y="6344562"/>
                </a:lnTo>
                <a:lnTo>
                  <a:pt x="511169" y="6344562"/>
                </a:lnTo>
                <a:lnTo>
                  <a:pt x="520903" y="6318564"/>
                </a:lnTo>
                <a:cubicBezTo>
                  <a:pt x="522959" y="6312961"/>
                  <a:pt x="524551" y="6307318"/>
                  <a:pt x="525680" y="6301635"/>
                </a:cubicBezTo>
                <a:close/>
                <a:moveTo>
                  <a:pt x="1847395" y="6292324"/>
                </a:moveTo>
                <a:lnTo>
                  <a:pt x="1847395" y="6380960"/>
                </a:lnTo>
                <a:lnTo>
                  <a:pt x="1902777" y="6380960"/>
                </a:lnTo>
                <a:lnTo>
                  <a:pt x="1902777" y="6370500"/>
                </a:lnTo>
                <a:lnTo>
                  <a:pt x="1859124" y="6370500"/>
                </a:lnTo>
                <a:lnTo>
                  <a:pt x="1859124" y="6292324"/>
                </a:lnTo>
                <a:close/>
                <a:moveTo>
                  <a:pt x="1676066" y="6292324"/>
                </a:moveTo>
                <a:lnTo>
                  <a:pt x="1676066" y="6380960"/>
                </a:lnTo>
                <a:lnTo>
                  <a:pt x="1687372" y="6380960"/>
                </a:lnTo>
                <a:lnTo>
                  <a:pt x="1687372" y="6305504"/>
                </a:lnTo>
                <a:lnTo>
                  <a:pt x="1713007" y="6380960"/>
                </a:lnTo>
                <a:lnTo>
                  <a:pt x="1723588" y="6380960"/>
                </a:lnTo>
                <a:lnTo>
                  <a:pt x="1749345" y="6306774"/>
                </a:lnTo>
                <a:lnTo>
                  <a:pt x="1749345" y="6380960"/>
                </a:lnTo>
                <a:lnTo>
                  <a:pt x="1760651" y="6380960"/>
                </a:lnTo>
                <a:lnTo>
                  <a:pt x="1760651" y="6292324"/>
                </a:lnTo>
                <a:lnTo>
                  <a:pt x="1744871" y="6292324"/>
                </a:lnTo>
                <a:lnTo>
                  <a:pt x="1723649" y="6353994"/>
                </a:lnTo>
                <a:cubicBezTo>
                  <a:pt x="1721512" y="6360242"/>
                  <a:pt x="1719940" y="6364978"/>
                  <a:pt x="1718932" y="6368203"/>
                </a:cubicBezTo>
                <a:cubicBezTo>
                  <a:pt x="1718046" y="6365301"/>
                  <a:pt x="1716635" y="6360927"/>
                  <a:pt x="1714700" y="6355083"/>
                </a:cubicBezTo>
                <a:lnTo>
                  <a:pt x="1693720" y="6292324"/>
                </a:lnTo>
                <a:close/>
                <a:moveTo>
                  <a:pt x="1560738" y="6292324"/>
                </a:moveTo>
                <a:lnTo>
                  <a:pt x="1560738" y="6380960"/>
                </a:lnTo>
                <a:lnTo>
                  <a:pt x="1571621" y="6380960"/>
                </a:lnTo>
                <a:lnTo>
                  <a:pt x="1571621" y="6345832"/>
                </a:lnTo>
                <a:cubicBezTo>
                  <a:pt x="1571621" y="6340794"/>
                  <a:pt x="1572225" y="6336844"/>
                  <a:pt x="1573434" y="6333982"/>
                </a:cubicBezTo>
                <a:cubicBezTo>
                  <a:pt x="1574644" y="6331120"/>
                  <a:pt x="1576669" y="6328853"/>
                  <a:pt x="1579511" y="6327180"/>
                </a:cubicBezTo>
                <a:cubicBezTo>
                  <a:pt x="1582353" y="6325507"/>
                  <a:pt x="1585386" y="6324671"/>
                  <a:pt x="1588610" y="6324671"/>
                </a:cubicBezTo>
                <a:cubicBezTo>
                  <a:pt x="1592923" y="6324671"/>
                  <a:pt x="1596259" y="6325910"/>
                  <a:pt x="1598617" y="6328389"/>
                </a:cubicBezTo>
                <a:cubicBezTo>
                  <a:pt x="1600975" y="6330868"/>
                  <a:pt x="1602154" y="6334828"/>
                  <a:pt x="1602154" y="6340270"/>
                </a:cubicBezTo>
                <a:lnTo>
                  <a:pt x="1602154" y="6380960"/>
                </a:lnTo>
                <a:lnTo>
                  <a:pt x="1613037" y="6380960"/>
                </a:lnTo>
                <a:lnTo>
                  <a:pt x="1613037" y="6340270"/>
                </a:lnTo>
                <a:cubicBezTo>
                  <a:pt x="1613037" y="6333982"/>
                  <a:pt x="1612281" y="6329185"/>
                  <a:pt x="1610770" y="6325880"/>
                </a:cubicBezTo>
                <a:cubicBezTo>
                  <a:pt x="1609258" y="6322575"/>
                  <a:pt x="1606749" y="6319985"/>
                  <a:pt x="1603242" y="6318111"/>
                </a:cubicBezTo>
                <a:cubicBezTo>
                  <a:pt x="1599735" y="6316236"/>
                  <a:pt x="1595604" y="6315299"/>
                  <a:pt x="1590847" y="6315299"/>
                </a:cubicBezTo>
                <a:cubicBezTo>
                  <a:pt x="1583108" y="6315299"/>
                  <a:pt x="1576699" y="6318242"/>
                  <a:pt x="1571621" y="6324127"/>
                </a:cubicBezTo>
                <a:lnTo>
                  <a:pt x="1571621" y="6292324"/>
                </a:lnTo>
                <a:close/>
                <a:moveTo>
                  <a:pt x="1285541" y="6292324"/>
                </a:moveTo>
                <a:lnTo>
                  <a:pt x="1285541" y="6380960"/>
                </a:lnTo>
                <a:lnTo>
                  <a:pt x="1296847" y="6380960"/>
                </a:lnTo>
                <a:lnTo>
                  <a:pt x="1296847" y="6305504"/>
                </a:lnTo>
                <a:lnTo>
                  <a:pt x="1322483" y="6380960"/>
                </a:lnTo>
                <a:lnTo>
                  <a:pt x="1333063" y="6380960"/>
                </a:lnTo>
                <a:lnTo>
                  <a:pt x="1358820" y="6306774"/>
                </a:lnTo>
                <a:lnTo>
                  <a:pt x="1358820" y="6380960"/>
                </a:lnTo>
                <a:lnTo>
                  <a:pt x="1370126" y="6380960"/>
                </a:lnTo>
                <a:lnTo>
                  <a:pt x="1370126" y="6292324"/>
                </a:lnTo>
                <a:lnTo>
                  <a:pt x="1354346" y="6292324"/>
                </a:lnTo>
                <a:lnTo>
                  <a:pt x="1333124" y="6353994"/>
                </a:lnTo>
                <a:cubicBezTo>
                  <a:pt x="1330987" y="6360242"/>
                  <a:pt x="1329415" y="6364978"/>
                  <a:pt x="1328408" y="6368203"/>
                </a:cubicBezTo>
                <a:cubicBezTo>
                  <a:pt x="1327521" y="6365301"/>
                  <a:pt x="1326110" y="6360927"/>
                  <a:pt x="1324175" y="6355083"/>
                </a:cubicBezTo>
                <a:lnTo>
                  <a:pt x="1303195" y="6292324"/>
                </a:lnTo>
                <a:close/>
                <a:moveTo>
                  <a:pt x="808323" y="6292324"/>
                </a:moveTo>
                <a:lnTo>
                  <a:pt x="808323" y="6304839"/>
                </a:lnTo>
                <a:lnTo>
                  <a:pt x="819206" y="6304839"/>
                </a:lnTo>
                <a:lnTo>
                  <a:pt x="819206" y="6292324"/>
                </a:lnTo>
                <a:close/>
                <a:moveTo>
                  <a:pt x="608177" y="6292324"/>
                </a:moveTo>
                <a:lnTo>
                  <a:pt x="608177" y="6380960"/>
                </a:lnTo>
                <a:lnTo>
                  <a:pt x="618274" y="6380960"/>
                </a:lnTo>
                <a:lnTo>
                  <a:pt x="618274" y="6372919"/>
                </a:lnTo>
                <a:cubicBezTo>
                  <a:pt x="622587" y="6379247"/>
                  <a:pt x="628532" y="6382411"/>
                  <a:pt x="636110" y="6382411"/>
                </a:cubicBezTo>
                <a:cubicBezTo>
                  <a:pt x="643728" y="6382411"/>
                  <a:pt x="650258" y="6379408"/>
                  <a:pt x="655700" y="6373403"/>
                </a:cubicBezTo>
                <a:cubicBezTo>
                  <a:pt x="661141" y="6367397"/>
                  <a:pt x="663862" y="6358892"/>
                  <a:pt x="663862" y="6347888"/>
                </a:cubicBezTo>
                <a:cubicBezTo>
                  <a:pt x="663862" y="6343252"/>
                  <a:pt x="663217" y="6338899"/>
                  <a:pt x="661927" y="6334828"/>
                </a:cubicBezTo>
                <a:cubicBezTo>
                  <a:pt x="660637" y="6330757"/>
                  <a:pt x="658854" y="6327281"/>
                  <a:pt x="656576" y="6324399"/>
                </a:cubicBezTo>
                <a:cubicBezTo>
                  <a:pt x="654299" y="6321517"/>
                  <a:pt x="651397" y="6319280"/>
                  <a:pt x="647870" y="6317687"/>
                </a:cubicBezTo>
                <a:cubicBezTo>
                  <a:pt x="644343" y="6316095"/>
                  <a:pt x="640605" y="6315299"/>
                  <a:pt x="636654" y="6315299"/>
                </a:cubicBezTo>
                <a:cubicBezTo>
                  <a:pt x="629520" y="6315299"/>
                  <a:pt x="623655" y="6318181"/>
                  <a:pt x="619060" y="6323945"/>
                </a:cubicBezTo>
                <a:lnTo>
                  <a:pt x="619060" y="6292324"/>
                </a:lnTo>
                <a:close/>
                <a:moveTo>
                  <a:pt x="519634" y="6292324"/>
                </a:moveTo>
                <a:lnTo>
                  <a:pt x="485594" y="6380960"/>
                </a:lnTo>
                <a:lnTo>
                  <a:pt x="498049" y="6380960"/>
                </a:lnTo>
                <a:lnTo>
                  <a:pt x="507783" y="6354115"/>
                </a:lnTo>
                <a:lnTo>
                  <a:pt x="544846" y="6354115"/>
                </a:lnTo>
                <a:lnTo>
                  <a:pt x="555185" y="6380960"/>
                </a:lnTo>
                <a:lnTo>
                  <a:pt x="568547" y="6380960"/>
                </a:lnTo>
                <a:lnTo>
                  <a:pt x="532270" y="6292324"/>
                </a:lnTo>
                <a:close/>
                <a:moveTo>
                  <a:pt x="1228688" y="6290812"/>
                </a:moveTo>
                <a:cubicBezTo>
                  <a:pt x="1223932" y="6290812"/>
                  <a:pt x="1220234" y="6291689"/>
                  <a:pt x="1217593" y="6293442"/>
                </a:cubicBezTo>
                <a:cubicBezTo>
                  <a:pt x="1214953" y="6295196"/>
                  <a:pt x="1213109" y="6297483"/>
                  <a:pt x="1212061" y="6300305"/>
                </a:cubicBezTo>
                <a:cubicBezTo>
                  <a:pt x="1211295" y="6302401"/>
                  <a:pt x="1210913" y="6305605"/>
                  <a:pt x="1210913" y="6309918"/>
                </a:cubicBezTo>
                <a:lnTo>
                  <a:pt x="1210913" y="6316750"/>
                </a:lnTo>
                <a:lnTo>
                  <a:pt x="1201299" y="6316750"/>
                </a:lnTo>
                <a:lnTo>
                  <a:pt x="1201299" y="6325215"/>
                </a:lnTo>
                <a:lnTo>
                  <a:pt x="1210913" y="6325215"/>
                </a:lnTo>
                <a:lnTo>
                  <a:pt x="1210913" y="6380960"/>
                </a:lnTo>
                <a:lnTo>
                  <a:pt x="1221735" y="6380960"/>
                </a:lnTo>
                <a:lnTo>
                  <a:pt x="1221735" y="6325215"/>
                </a:lnTo>
                <a:lnTo>
                  <a:pt x="1234251" y="6325215"/>
                </a:lnTo>
                <a:lnTo>
                  <a:pt x="1234251" y="6316750"/>
                </a:lnTo>
                <a:lnTo>
                  <a:pt x="1221735" y="6316750"/>
                </a:lnTo>
                <a:lnTo>
                  <a:pt x="1221735" y="6310825"/>
                </a:lnTo>
                <a:cubicBezTo>
                  <a:pt x="1221735" y="6306955"/>
                  <a:pt x="1222420" y="6304315"/>
                  <a:pt x="1223791" y="6302905"/>
                </a:cubicBezTo>
                <a:cubicBezTo>
                  <a:pt x="1225161" y="6301494"/>
                  <a:pt x="1227499" y="6300788"/>
                  <a:pt x="1230804" y="6300788"/>
                </a:cubicBezTo>
                <a:cubicBezTo>
                  <a:pt x="1232819" y="6300788"/>
                  <a:pt x="1234956" y="6300990"/>
                  <a:pt x="1237213" y="6301393"/>
                </a:cubicBezTo>
                <a:lnTo>
                  <a:pt x="1238846" y="6291901"/>
                </a:lnTo>
                <a:cubicBezTo>
                  <a:pt x="1235137" y="6291175"/>
                  <a:pt x="1231752" y="6290812"/>
                  <a:pt x="1228688" y="6290812"/>
                </a:cubicBezTo>
                <a:close/>
                <a:moveTo>
                  <a:pt x="2096894" y="521338"/>
                </a:moveTo>
                <a:cubicBezTo>
                  <a:pt x="2112454" y="521338"/>
                  <a:pt x="2126600" y="524189"/>
                  <a:pt x="2138859" y="529890"/>
                </a:cubicBezTo>
                <a:cubicBezTo>
                  <a:pt x="2137916" y="546993"/>
                  <a:pt x="2133201" y="559821"/>
                  <a:pt x="2124714" y="568373"/>
                </a:cubicBezTo>
                <a:cubicBezTo>
                  <a:pt x="2116226" y="577399"/>
                  <a:pt x="2104438" y="581675"/>
                  <a:pt x="2088878" y="581675"/>
                </a:cubicBezTo>
                <a:cubicBezTo>
                  <a:pt x="2078033" y="581675"/>
                  <a:pt x="2069546" y="579300"/>
                  <a:pt x="2063416" y="574074"/>
                </a:cubicBezTo>
                <a:cubicBezTo>
                  <a:pt x="2057286" y="568848"/>
                  <a:pt x="2054457" y="561721"/>
                  <a:pt x="2054457" y="552219"/>
                </a:cubicBezTo>
                <a:cubicBezTo>
                  <a:pt x="2054457" y="542242"/>
                  <a:pt x="2057758" y="534641"/>
                  <a:pt x="2064831" y="529415"/>
                </a:cubicBezTo>
                <a:cubicBezTo>
                  <a:pt x="2072375" y="524189"/>
                  <a:pt x="2082748" y="521338"/>
                  <a:pt x="2096894" y="521338"/>
                </a:cubicBezTo>
                <a:close/>
                <a:moveTo>
                  <a:pt x="2478849" y="452281"/>
                </a:moveTo>
                <a:cubicBezTo>
                  <a:pt x="2490186" y="452281"/>
                  <a:pt x="2499633" y="455139"/>
                  <a:pt x="2508136" y="460379"/>
                </a:cubicBezTo>
                <a:cubicBezTo>
                  <a:pt x="2516167" y="465618"/>
                  <a:pt x="2522780" y="472763"/>
                  <a:pt x="2527977" y="481814"/>
                </a:cubicBezTo>
                <a:cubicBezTo>
                  <a:pt x="2532700" y="490864"/>
                  <a:pt x="2535062" y="501820"/>
                  <a:pt x="2535062" y="513728"/>
                </a:cubicBezTo>
                <a:cubicBezTo>
                  <a:pt x="2535062" y="525637"/>
                  <a:pt x="2532700" y="536116"/>
                  <a:pt x="2527977" y="545643"/>
                </a:cubicBezTo>
                <a:cubicBezTo>
                  <a:pt x="2522780" y="554693"/>
                  <a:pt x="2516167" y="561838"/>
                  <a:pt x="2508136" y="567078"/>
                </a:cubicBezTo>
                <a:cubicBezTo>
                  <a:pt x="2499633" y="572317"/>
                  <a:pt x="2490186" y="574699"/>
                  <a:pt x="2478849" y="574699"/>
                </a:cubicBezTo>
                <a:cubicBezTo>
                  <a:pt x="2467984" y="574699"/>
                  <a:pt x="2458536" y="572317"/>
                  <a:pt x="2450033" y="567078"/>
                </a:cubicBezTo>
                <a:cubicBezTo>
                  <a:pt x="2441530" y="561838"/>
                  <a:pt x="2434917" y="554693"/>
                  <a:pt x="2430193" y="545643"/>
                </a:cubicBezTo>
                <a:cubicBezTo>
                  <a:pt x="2425469" y="536116"/>
                  <a:pt x="2423107" y="525637"/>
                  <a:pt x="2423107" y="513728"/>
                </a:cubicBezTo>
                <a:cubicBezTo>
                  <a:pt x="2423107" y="501820"/>
                  <a:pt x="2425469" y="490864"/>
                  <a:pt x="2430193" y="481814"/>
                </a:cubicBezTo>
                <a:cubicBezTo>
                  <a:pt x="2434917" y="472763"/>
                  <a:pt x="2441530" y="465618"/>
                  <a:pt x="2450033" y="460379"/>
                </a:cubicBezTo>
                <a:cubicBezTo>
                  <a:pt x="2458536" y="455139"/>
                  <a:pt x="2467984" y="452281"/>
                  <a:pt x="2478849" y="452281"/>
                </a:cubicBezTo>
                <a:close/>
                <a:moveTo>
                  <a:pt x="3294704" y="447050"/>
                </a:moveTo>
                <a:cubicBezTo>
                  <a:pt x="3307944" y="447050"/>
                  <a:pt x="3318347" y="450392"/>
                  <a:pt x="3326385" y="457554"/>
                </a:cubicBezTo>
                <a:cubicBezTo>
                  <a:pt x="3334424" y="464715"/>
                  <a:pt x="3339625" y="475219"/>
                  <a:pt x="3341990" y="489065"/>
                </a:cubicBezTo>
                <a:cubicBezTo>
                  <a:pt x="3342462" y="490974"/>
                  <a:pt x="3342462" y="493362"/>
                  <a:pt x="3342462" y="496226"/>
                </a:cubicBezTo>
                <a:cubicBezTo>
                  <a:pt x="3342462" y="496226"/>
                  <a:pt x="3342462" y="496226"/>
                  <a:pt x="3244109" y="496226"/>
                </a:cubicBezTo>
                <a:cubicBezTo>
                  <a:pt x="3246473" y="480948"/>
                  <a:pt x="3252148" y="468535"/>
                  <a:pt x="3260659" y="459941"/>
                </a:cubicBezTo>
                <a:cubicBezTo>
                  <a:pt x="3269170" y="451347"/>
                  <a:pt x="3280519" y="447050"/>
                  <a:pt x="3294704" y="447050"/>
                </a:cubicBezTo>
                <a:close/>
                <a:moveTo>
                  <a:pt x="2701269" y="447050"/>
                </a:moveTo>
                <a:cubicBezTo>
                  <a:pt x="2714462" y="447050"/>
                  <a:pt x="2724828" y="450392"/>
                  <a:pt x="2732837" y="457554"/>
                </a:cubicBezTo>
                <a:cubicBezTo>
                  <a:pt x="2740847" y="464715"/>
                  <a:pt x="2746030" y="475219"/>
                  <a:pt x="2748386" y="489065"/>
                </a:cubicBezTo>
                <a:cubicBezTo>
                  <a:pt x="2748857" y="490974"/>
                  <a:pt x="2748857" y="493362"/>
                  <a:pt x="2748857" y="496226"/>
                </a:cubicBezTo>
                <a:cubicBezTo>
                  <a:pt x="2748857" y="496226"/>
                  <a:pt x="2748857" y="496226"/>
                  <a:pt x="2650853" y="496226"/>
                </a:cubicBezTo>
                <a:cubicBezTo>
                  <a:pt x="2653209" y="480948"/>
                  <a:pt x="2658863" y="468535"/>
                  <a:pt x="2667344" y="459941"/>
                </a:cubicBezTo>
                <a:cubicBezTo>
                  <a:pt x="2676297" y="451347"/>
                  <a:pt x="2687605" y="447050"/>
                  <a:pt x="2701269" y="447050"/>
                </a:cubicBezTo>
                <a:close/>
                <a:moveTo>
                  <a:pt x="1538977" y="418451"/>
                </a:moveTo>
                <a:cubicBezTo>
                  <a:pt x="1538977" y="418451"/>
                  <a:pt x="1538977" y="418451"/>
                  <a:pt x="1620129" y="603138"/>
                </a:cubicBezTo>
                <a:cubicBezTo>
                  <a:pt x="1613996" y="617894"/>
                  <a:pt x="1607862" y="627890"/>
                  <a:pt x="1601257" y="633126"/>
                </a:cubicBezTo>
                <a:cubicBezTo>
                  <a:pt x="1594652" y="638361"/>
                  <a:pt x="1586159" y="640741"/>
                  <a:pt x="1575779" y="640741"/>
                </a:cubicBezTo>
                <a:cubicBezTo>
                  <a:pt x="1571061" y="640741"/>
                  <a:pt x="1565871" y="640265"/>
                  <a:pt x="1560209" y="638837"/>
                </a:cubicBezTo>
                <a:cubicBezTo>
                  <a:pt x="1555019" y="637409"/>
                  <a:pt x="1549829" y="635982"/>
                  <a:pt x="1545583" y="634077"/>
                </a:cubicBezTo>
                <a:cubicBezTo>
                  <a:pt x="1545583" y="634077"/>
                  <a:pt x="1545583" y="634077"/>
                  <a:pt x="1545583" y="673585"/>
                </a:cubicBezTo>
                <a:cubicBezTo>
                  <a:pt x="1550301" y="675489"/>
                  <a:pt x="1555963" y="676917"/>
                  <a:pt x="1561624" y="678345"/>
                </a:cubicBezTo>
                <a:cubicBezTo>
                  <a:pt x="1567758" y="679773"/>
                  <a:pt x="1572948" y="680725"/>
                  <a:pt x="1578138" y="680725"/>
                </a:cubicBezTo>
                <a:cubicBezTo>
                  <a:pt x="1589933" y="680725"/>
                  <a:pt x="1600313" y="678821"/>
                  <a:pt x="1610221" y="674537"/>
                </a:cubicBezTo>
                <a:cubicBezTo>
                  <a:pt x="1620129" y="670729"/>
                  <a:pt x="1629566" y="663113"/>
                  <a:pt x="1638058" y="652165"/>
                </a:cubicBezTo>
                <a:cubicBezTo>
                  <a:pt x="1647023" y="641217"/>
                  <a:pt x="1655516" y="625510"/>
                  <a:pt x="1664008" y="605042"/>
                </a:cubicBezTo>
                <a:cubicBezTo>
                  <a:pt x="1664008" y="605042"/>
                  <a:pt x="1664008" y="605042"/>
                  <a:pt x="1740914" y="418451"/>
                </a:cubicBezTo>
                <a:cubicBezTo>
                  <a:pt x="1740914" y="418451"/>
                  <a:pt x="1740914" y="418451"/>
                  <a:pt x="1697979" y="418451"/>
                </a:cubicBezTo>
                <a:cubicBezTo>
                  <a:pt x="1697979" y="418451"/>
                  <a:pt x="1697979" y="418451"/>
                  <a:pt x="1642777" y="552682"/>
                </a:cubicBezTo>
                <a:cubicBezTo>
                  <a:pt x="1642777" y="552682"/>
                  <a:pt x="1642777" y="552682"/>
                  <a:pt x="1583800" y="418451"/>
                </a:cubicBezTo>
                <a:cubicBezTo>
                  <a:pt x="1583800" y="418451"/>
                  <a:pt x="1583800" y="418451"/>
                  <a:pt x="1538977" y="418451"/>
                </a:cubicBezTo>
                <a:close/>
                <a:moveTo>
                  <a:pt x="1338434" y="418451"/>
                </a:moveTo>
                <a:cubicBezTo>
                  <a:pt x="1338434" y="418451"/>
                  <a:pt x="1338434" y="418451"/>
                  <a:pt x="1338434" y="537864"/>
                </a:cubicBezTo>
                <a:cubicBezTo>
                  <a:pt x="1338434" y="562603"/>
                  <a:pt x="1344103" y="581633"/>
                  <a:pt x="1355442" y="594478"/>
                </a:cubicBezTo>
                <a:cubicBezTo>
                  <a:pt x="1366780" y="607799"/>
                  <a:pt x="1382843" y="614459"/>
                  <a:pt x="1404102" y="614459"/>
                </a:cubicBezTo>
                <a:cubicBezTo>
                  <a:pt x="1418275" y="614459"/>
                  <a:pt x="1431031" y="611129"/>
                  <a:pt x="1441897" y="605420"/>
                </a:cubicBezTo>
                <a:cubicBezTo>
                  <a:pt x="1452290" y="599235"/>
                  <a:pt x="1460322" y="590196"/>
                  <a:pt x="1465518" y="579254"/>
                </a:cubicBezTo>
                <a:cubicBezTo>
                  <a:pt x="1465518" y="579254"/>
                  <a:pt x="1465518" y="579254"/>
                  <a:pt x="1466463" y="608274"/>
                </a:cubicBezTo>
                <a:cubicBezTo>
                  <a:pt x="1466463" y="608274"/>
                  <a:pt x="1466463" y="608274"/>
                  <a:pt x="1508982" y="608274"/>
                </a:cubicBezTo>
                <a:cubicBezTo>
                  <a:pt x="1508982" y="608274"/>
                  <a:pt x="1508982" y="608274"/>
                  <a:pt x="1508982" y="418451"/>
                </a:cubicBezTo>
                <a:cubicBezTo>
                  <a:pt x="1508982" y="418451"/>
                  <a:pt x="1508982" y="418451"/>
                  <a:pt x="1464574" y="418451"/>
                </a:cubicBezTo>
                <a:cubicBezTo>
                  <a:pt x="1464574" y="418451"/>
                  <a:pt x="1464574" y="418451"/>
                  <a:pt x="1464574" y="521688"/>
                </a:cubicBezTo>
                <a:cubicBezTo>
                  <a:pt x="1464574" y="538339"/>
                  <a:pt x="1460794" y="551185"/>
                  <a:pt x="1453235" y="560700"/>
                </a:cubicBezTo>
                <a:cubicBezTo>
                  <a:pt x="1445676" y="570215"/>
                  <a:pt x="1434810" y="574972"/>
                  <a:pt x="1421110" y="574972"/>
                </a:cubicBezTo>
                <a:cubicBezTo>
                  <a:pt x="1407409" y="574972"/>
                  <a:pt x="1397488" y="571166"/>
                  <a:pt x="1391819" y="563554"/>
                </a:cubicBezTo>
                <a:cubicBezTo>
                  <a:pt x="1385677" y="555942"/>
                  <a:pt x="1382843" y="544049"/>
                  <a:pt x="1382843" y="527397"/>
                </a:cubicBezTo>
                <a:cubicBezTo>
                  <a:pt x="1382843" y="527397"/>
                  <a:pt x="1382843" y="527397"/>
                  <a:pt x="1382843" y="418451"/>
                </a:cubicBezTo>
                <a:cubicBezTo>
                  <a:pt x="1382843" y="418451"/>
                  <a:pt x="1382843" y="418451"/>
                  <a:pt x="1338434" y="418451"/>
                </a:cubicBezTo>
                <a:close/>
                <a:moveTo>
                  <a:pt x="3524091" y="415661"/>
                </a:moveTo>
                <a:cubicBezTo>
                  <a:pt x="3511309" y="415661"/>
                  <a:pt x="3499474" y="419471"/>
                  <a:pt x="3489531" y="427090"/>
                </a:cubicBezTo>
                <a:cubicBezTo>
                  <a:pt x="3479116" y="434710"/>
                  <a:pt x="3471541" y="445187"/>
                  <a:pt x="3466334" y="458045"/>
                </a:cubicBezTo>
                <a:cubicBezTo>
                  <a:pt x="3466334" y="458045"/>
                  <a:pt x="3466334" y="458045"/>
                  <a:pt x="3466334" y="418518"/>
                </a:cubicBezTo>
                <a:cubicBezTo>
                  <a:pt x="3466334" y="418518"/>
                  <a:pt x="3466334" y="418518"/>
                  <a:pt x="3423725" y="418518"/>
                </a:cubicBezTo>
                <a:cubicBezTo>
                  <a:pt x="3423725" y="418518"/>
                  <a:pt x="3423725" y="418518"/>
                  <a:pt x="3423725" y="608530"/>
                </a:cubicBezTo>
                <a:lnTo>
                  <a:pt x="3468227" y="608530"/>
                </a:lnTo>
                <a:cubicBezTo>
                  <a:pt x="3468227" y="608530"/>
                  <a:pt x="3468227" y="608530"/>
                  <a:pt x="3468227" y="519953"/>
                </a:cubicBezTo>
                <a:cubicBezTo>
                  <a:pt x="3468227" y="499476"/>
                  <a:pt x="3472488" y="484237"/>
                  <a:pt x="3481010" y="473284"/>
                </a:cubicBezTo>
                <a:cubicBezTo>
                  <a:pt x="3489531" y="462807"/>
                  <a:pt x="3502314" y="457568"/>
                  <a:pt x="3518411" y="457568"/>
                </a:cubicBezTo>
                <a:cubicBezTo>
                  <a:pt x="3523145" y="457568"/>
                  <a:pt x="3528826" y="458045"/>
                  <a:pt x="3534507" y="458997"/>
                </a:cubicBezTo>
                <a:cubicBezTo>
                  <a:pt x="3540188" y="459473"/>
                  <a:pt x="3544449" y="460902"/>
                  <a:pt x="3548236" y="461854"/>
                </a:cubicBezTo>
                <a:cubicBezTo>
                  <a:pt x="3548236" y="461854"/>
                  <a:pt x="3548236" y="461854"/>
                  <a:pt x="3548236" y="419471"/>
                </a:cubicBezTo>
                <a:cubicBezTo>
                  <a:pt x="3545396" y="418042"/>
                  <a:pt x="3541608" y="417090"/>
                  <a:pt x="3536401" y="416614"/>
                </a:cubicBezTo>
                <a:cubicBezTo>
                  <a:pt x="3531666" y="416137"/>
                  <a:pt x="3527406" y="415661"/>
                  <a:pt x="3524091" y="415661"/>
                </a:cubicBezTo>
                <a:close/>
                <a:moveTo>
                  <a:pt x="2326486" y="415661"/>
                </a:moveTo>
                <a:cubicBezTo>
                  <a:pt x="2313740" y="415661"/>
                  <a:pt x="2301937" y="419471"/>
                  <a:pt x="2292023" y="427090"/>
                </a:cubicBezTo>
                <a:cubicBezTo>
                  <a:pt x="2281637" y="434710"/>
                  <a:pt x="2274083" y="445187"/>
                  <a:pt x="2268890" y="458045"/>
                </a:cubicBezTo>
                <a:cubicBezTo>
                  <a:pt x="2268890" y="458045"/>
                  <a:pt x="2268890" y="458045"/>
                  <a:pt x="2268890" y="418518"/>
                </a:cubicBezTo>
                <a:cubicBezTo>
                  <a:pt x="2268890" y="418518"/>
                  <a:pt x="2268890" y="418518"/>
                  <a:pt x="2226401" y="418518"/>
                </a:cubicBezTo>
                <a:cubicBezTo>
                  <a:pt x="2226401" y="418518"/>
                  <a:pt x="2226401" y="418518"/>
                  <a:pt x="2226401" y="608530"/>
                </a:cubicBezTo>
                <a:lnTo>
                  <a:pt x="2270778" y="608530"/>
                </a:lnTo>
                <a:cubicBezTo>
                  <a:pt x="2270778" y="608530"/>
                  <a:pt x="2270778" y="608530"/>
                  <a:pt x="2270778" y="519953"/>
                </a:cubicBezTo>
                <a:cubicBezTo>
                  <a:pt x="2270778" y="499476"/>
                  <a:pt x="2275027" y="484237"/>
                  <a:pt x="2283525" y="473284"/>
                </a:cubicBezTo>
                <a:cubicBezTo>
                  <a:pt x="2292023" y="462807"/>
                  <a:pt x="2304770" y="457568"/>
                  <a:pt x="2320821" y="457568"/>
                </a:cubicBezTo>
                <a:cubicBezTo>
                  <a:pt x="2325542" y="457568"/>
                  <a:pt x="2330735" y="458045"/>
                  <a:pt x="2336400" y="458997"/>
                </a:cubicBezTo>
                <a:cubicBezTo>
                  <a:pt x="2342066" y="459473"/>
                  <a:pt x="2346787" y="460902"/>
                  <a:pt x="2350563" y="461854"/>
                </a:cubicBezTo>
                <a:cubicBezTo>
                  <a:pt x="2350563" y="461854"/>
                  <a:pt x="2350563" y="461854"/>
                  <a:pt x="2350563" y="419471"/>
                </a:cubicBezTo>
                <a:cubicBezTo>
                  <a:pt x="2347731" y="418042"/>
                  <a:pt x="2343482" y="417090"/>
                  <a:pt x="2338761" y="416614"/>
                </a:cubicBezTo>
                <a:cubicBezTo>
                  <a:pt x="2334040" y="416137"/>
                  <a:pt x="2329791" y="415661"/>
                  <a:pt x="2326486" y="415661"/>
                </a:cubicBezTo>
                <a:close/>
                <a:moveTo>
                  <a:pt x="3296720" y="412871"/>
                </a:moveTo>
                <a:cubicBezTo>
                  <a:pt x="3278281" y="412871"/>
                  <a:pt x="3261732" y="417150"/>
                  <a:pt x="3247547" y="425708"/>
                </a:cubicBezTo>
                <a:cubicBezTo>
                  <a:pt x="3232890" y="434266"/>
                  <a:pt x="3221543" y="446152"/>
                  <a:pt x="3213505" y="461366"/>
                </a:cubicBezTo>
                <a:cubicBezTo>
                  <a:pt x="3205467" y="476581"/>
                  <a:pt x="3201211" y="494172"/>
                  <a:pt x="3201211" y="514141"/>
                </a:cubicBezTo>
                <a:cubicBezTo>
                  <a:pt x="3201211" y="536011"/>
                  <a:pt x="3205940" y="554078"/>
                  <a:pt x="3214923" y="568817"/>
                </a:cubicBezTo>
                <a:cubicBezTo>
                  <a:pt x="3224379" y="584031"/>
                  <a:pt x="3236672" y="595441"/>
                  <a:pt x="3252748" y="603049"/>
                </a:cubicBezTo>
                <a:cubicBezTo>
                  <a:pt x="3268351" y="610656"/>
                  <a:pt x="3286791" y="614459"/>
                  <a:pt x="3307122" y="614459"/>
                </a:cubicBezTo>
                <a:cubicBezTo>
                  <a:pt x="3319888" y="614459"/>
                  <a:pt x="3332654" y="612557"/>
                  <a:pt x="3344948" y="608278"/>
                </a:cubicBezTo>
                <a:cubicBezTo>
                  <a:pt x="3357714" y="604475"/>
                  <a:pt x="3368588" y="598769"/>
                  <a:pt x="3378518" y="592113"/>
                </a:cubicBezTo>
                <a:cubicBezTo>
                  <a:pt x="3378518" y="553127"/>
                  <a:pt x="3378518" y="553127"/>
                  <a:pt x="3378518" y="553127"/>
                </a:cubicBezTo>
                <a:cubicBezTo>
                  <a:pt x="3358186" y="568341"/>
                  <a:pt x="3335491" y="575948"/>
                  <a:pt x="3311378" y="575948"/>
                </a:cubicBezTo>
                <a:cubicBezTo>
                  <a:pt x="3291992" y="575948"/>
                  <a:pt x="3276862" y="571669"/>
                  <a:pt x="3265514" y="562636"/>
                </a:cubicBezTo>
                <a:cubicBezTo>
                  <a:pt x="3254167" y="553602"/>
                  <a:pt x="3247074" y="541241"/>
                  <a:pt x="3244238" y="525551"/>
                </a:cubicBezTo>
                <a:cubicBezTo>
                  <a:pt x="3383246" y="525551"/>
                  <a:pt x="3383246" y="525551"/>
                  <a:pt x="3383246" y="525551"/>
                </a:cubicBezTo>
                <a:cubicBezTo>
                  <a:pt x="3383719" y="520321"/>
                  <a:pt x="3383719" y="516993"/>
                  <a:pt x="3384192" y="514141"/>
                </a:cubicBezTo>
                <a:cubicBezTo>
                  <a:pt x="3384192" y="511763"/>
                  <a:pt x="3384664" y="508911"/>
                  <a:pt x="3384664" y="506533"/>
                </a:cubicBezTo>
                <a:cubicBezTo>
                  <a:pt x="3384664" y="487516"/>
                  <a:pt x="3380882" y="471351"/>
                  <a:pt x="3373790" y="457087"/>
                </a:cubicBezTo>
                <a:cubicBezTo>
                  <a:pt x="3366697" y="443300"/>
                  <a:pt x="3356295" y="432364"/>
                  <a:pt x="3343056" y="424282"/>
                </a:cubicBezTo>
                <a:cubicBezTo>
                  <a:pt x="3329818" y="416675"/>
                  <a:pt x="3314687" y="412871"/>
                  <a:pt x="3296720" y="412871"/>
                </a:cubicBezTo>
                <a:close/>
                <a:moveTo>
                  <a:pt x="2933385" y="412871"/>
                </a:moveTo>
                <a:cubicBezTo>
                  <a:pt x="2919695" y="412871"/>
                  <a:pt x="2907892" y="415727"/>
                  <a:pt x="2897034" y="422392"/>
                </a:cubicBezTo>
                <a:cubicBezTo>
                  <a:pt x="2886648" y="428581"/>
                  <a:pt x="2878623" y="437626"/>
                  <a:pt x="2873430" y="449051"/>
                </a:cubicBezTo>
                <a:cubicBezTo>
                  <a:pt x="2873430" y="449051"/>
                  <a:pt x="2873430" y="449051"/>
                  <a:pt x="2872957" y="418584"/>
                </a:cubicBezTo>
                <a:cubicBezTo>
                  <a:pt x="2872957" y="418584"/>
                  <a:pt x="2872957" y="418584"/>
                  <a:pt x="2830469" y="418584"/>
                </a:cubicBezTo>
                <a:cubicBezTo>
                  <a:pt x="2830469" y="418584"/>
                  <a:pt x="2830469" y="418584"/>
                  <a:pt x="2830469" y="608530"/>
                </a:cubicBezTo>
                <a:lnTo>
                  <a:pt x="2874846" y="608530"/>
                </a:lnTo>
                <a:cubicBezTo>
                  <a:pt x="2874846" y="608530"/>
                  <a:pt x="2874846" y="608530"/>
                  <a:pt x="2874846" y="505702"/>
                </a:cubicBezTo>
                <a:cubicBezTo>
                  <a:pt x="2874846" y="488564"/>
                  <a:pt x="2878623" y="475710"/>
                  <a:pt x="2886648" y="466189"/>
                </a:cubicBezTo>
                <a:cubicBezTo>
                  <a:pt x="2894674" y="457144"/>
                  <a:pt x="2905532" y="452384"/>
                  <a:pt x="2919695" y="452384"/>
                </a:cubicBezTo>
                <a:cubicBezTo>
                  <a:pt x="2944715" y="452384"/>
                  <a:pt x="2957462" y="469046"/>
                  <a:pt x="2957462" y="501894"/>
                </a:cubicBezTo>
                <a:cubicBezTo>
                  <a:pt x="2957462" y="501894"/>
                  <a:pt x="2957462" y="501894"/>
                  <a:pt x="2957462" y="608530"/>
                </a:cubicBezTo>
                <a:cubicBezTo>
                  <a:pt x="2957462" y="608530"/>
                  <a:pt x="2957462" y="608530"/>
                  <a:pt x="3001366" y="608530"/>
                </a:cubicBezTo>
                <a:cubicBezTo>
                  <a:pt x="3001366" y="608530"/>
                  <a:pt x="3001366" y="608530"/>
                  <a:pt x="3001366" y="493801"/>
                </a:cubicBezTo>
                <a:cubicBezTo>
                  <a:pt x="3001366" y="467618"/>
                  <a:pt x="2995701" y="447623"/>
                  <a:pt x="2983899" y="433818"/>
                </a:cubicBezTo>
                <a:cubicBezTo>
                  <a:pt x="2972097" y="419536"/>
                  <a:pt x="2955101" y="412871"/>
                  <a:pt x="2933385" y="412871"/>
                </a:cubicBezTo>
                <a:close/>
                <a:moveTo>
                  <a:pt x="2703114" y="412871"/>
                </a:moveTo>
                <a:cubicBezTo>
                  <a:pt x="2684674" y="412871"/>
                  <a:pt x="2668126" y="417150"/>
                  <a:pt x="2653941" y="425708"/>
                </a:cubicBezTo>
                <a:cubicBezTo>
                  <a:pt x="2639284" y="434266"/>
                  <a:pt x="2627936" y="446152"/>
                  <a:pt x="2619899" y="461366"/>
                </a:cubicBezTo>
                <a:cubicBezTo>
                  <a:pt x="2611861" y="476581"/>
                  <a:pt x="2607605" y="494172"/>
                  <a:pt x="2607605" y="514141"/>
                </a:cubicBezTo>
                <a:cubicBezTo>
                  <a:pt x="2607605" y="536011"/>
                  <a:pt x="2612334" y="554078"/>
                  <a:pt x="2621317" y="568817"/>
                </a:cubicBezTo>
                <a:cubicBezTo>
                  <a:pt x="2630773" y="584031"/>
                  <a:pt x="2643067" y="595441"/>
                  <a:pt x="2659142" y="603049"/>
                </a:cubicBezTo>
                <a:cubicBezTo>
                  <a:pt x="2674745" y="610656"/>
                  <a:pt x="2693185" y="614459"/>
                  <a:pt x="2713516" y="614459"/>
                </a:cubicBezTo>
                <a:cubicBezTo>
                  <a:pt x="2726282" y="614459"/>
                  <a:pt x="2739048" y="612557"/>
                  <a:pt x="2751342" y="608278"/>
                </a:cubicBezTo>
                <a:cubicBezTo>
                  <a:pt x="2764108" y="604475"/>
                  <a:pt x="2774983" y="598769"/>
                  <a:pt x="2784912" y="592113"/>
                </a:cubicBezTo>
                <a:cubicBezTo>
                  <a:pt x="2784912" y="553127"/>
                  <a:pt x="2784912" y="553127"/>
                  <a:pt x="2784912" y="553127"/>
                </a:cubicBezTo>
                <a:cubicBezTo>
                  <a:pt x="2764581" y="568341"/>
                  <a:pt x="2741885" y="575948"/>
                  <a:pt x="2717771" y="575948"/>
                </a:cubicBezTo>
                <a:cubicBezTo>
                  <a:pt x="2698386" y="575948"/>
                  <a:pt x="2683256" y="571669"/>
                  <a:pt x="2671908" y="562636"/>
                </a:cubicBezTo>
                <a:cubicBezTo>
                  <a:pt x="2660561" y="553602"/>
                  <a:pt x="2653469" y="541241"/>
                  <a:pt x="2650632" y="525551"/>
                </a:cubicBezTo>
                <a:cubicBezTo>
                  <a:pt x="2789640" y="525551"/>
                  <a:pt x="2789640" y="525551"/>
                  <a:pt x="2789640" y="525551"/>
                </a:cubicBezTo>
                <a:cubicBezTo>
                  <a:pt x="2790113" y="520321"/>
                  <a:pt x="2790113" y="516993"/>
                  <a:pt x="2790586" y="514141"/>
                </a:cubicBezTo>
                <a:cubicBezTo>
                  <a:pt x="2790586" y="511763"/>
                  <a:pt x="2791058" y="508911"/>
                  <a:pt x="2791058" y="506533"/>
                </a:cubicBezTo>
                <a:cubicBezTo>
                  <a:pt x="2791058" y="487516"/>
                  <a:pt x="2787276" y="471351"/>
                  <a:pt x="2780184" y="457087"/>
                </a:cubicBezTo>
                <a:cubicBezTo>
                  <a:pt x="2773091" y="443300"/>
                  <a:pt x="2762689" y="432364"/>
                  <a:pt x="2749450" y="424282"/>
                </a:cubicBezTo>
                <a:cubicBezTo>
                  <a:pt x="2736211" y="416675"/>
                  <a:pt x="2721081" y="412871"/>
                  <a:pt x="2703114" y="412871"/>
                </a:cubicBezTo>
                <a:close/>
                <a:moveTo>
                  <a:pt x="2491416" y="412871"/>
                </a:moveTo>
                <a:cubicBezTo>
                  <a:pt x="2476286" y="412871"/>
                  <a:pt x="2463048" y="416199"/>
                  <a:pt x="2451701" y="422381"/>
                </a:cubicBezTo>
                <a:cubicBezTo>
                  <a:pt x="2440353" y="429037"/>
                  <a:pt x="2430898" y="438547"/>
                  <a:pt x="2423806" y="450910"/>
                </a:cubicBezTo>
                <a:cubicBezTo>
                  <a:pt x="2423806" y="418577"/>
                  <a:pt x="2423806" y="418577"/>
                  <a:pt x="2423806" y="418577"/>
                </a:cubicBezTo>
                <a:cubicBezTo>
                  <a:pt x="2381254" y="418577"/>
                  <a:pt x="2381254" y="418577"/>
                  <a:pt x="2381254" y="418577"/>
                </a:cubicBezTo>
                <a:cubicBezTo>
                  <a:pt x="2381254" y="677238"/>
                  <a:pt x="2381254" y="677238"/>
                  <a:pt x="2381254" y="677238"/>
                </a:cubicBezTo>
                <a:cubicBezTo>
                  <a:pt x="2425697" y="677238"/>
                  <a:pt x="2425697" y="677238"/>
                  <a:pt x="2425697" y="677238"/>
                </a:cubicBezTo>
                <a:cubicBezTo>
                  <a:pt x="2425697" y="579765"/>
                  <a:pt x="2425697" y="579765"/>
                  <a:pt x="2425697" y="579765"/>
                </a:cubicBezTo>
                <a:cubicBezTo>
                  <a:pt x="2432316" y="591176"/>
                  <a:pt x="2440827" y="599735"/>
                  <a:pt x="2451701" y="605441"/>
                </a:cubicBezTo>
                <a:cubicBezTo>
                  <a:pt x="2462575" y="611622"/>
                  <a:pt x="2474868" y="614475"/>
                  <a:pt x="2488106" y="614475"/>
                </a:cubicBezTo>
                <a:cubicBezTo>
                  <a:pt x="2500871" y="614475"/>
                  <a:pt x="2512691" y="611622"/>
                  <a:pt x="2523566" y="606867"/>
                </a:cubicBezTo>
                <a:cubicBezTo>
                  <a:pt x="2534440" y="601637"/>
                  <a:pt x="2544369" y="594505"/>
                  <a:pt x="2552879" y="584995"/>
                </a:cubicBezTo>
                <a:cubicBezTo>
                  <a:pt x="2560916" y="575961"/>
                  <a:pt x="2567535" y="565025"/>
                  <a:pt x="2572263" y="553138"/>
                </a:cubicBezTo>
                <a:cubicBezTo>
                  <a:pt x="2576991" y="540775"/>
                  <a:pt x="2579355" y="527462"/>
                  <a:pt x="2579355" y="513197"/>
                </a:cubicBezTo>
                <a:cubicBezTo>
                  <a:pt x="2579355" y="493703"/>
                  <a:pt x="2575573" y="476110"/>
                  <a:pt x="2568008" y="461370"/>
                </a:cubicBezTo>
                <a:cubicBezTo>
                  <a:pt x="2560444" y="446155"/>
                  <a:pt x="2550042" y="434268"/>
                  <a:pt x="2536804" y="425709"/>
                </a:cubicBezTo>
                <a:cubicBezTo>
                  <a:pt x="2523566" y="417150"/>
                  <a:pt x="2508436" y="412871"/>
                  <a:pt x="2491416" y="412871"/>
                </a:cubicBezTo>
                <a:close/>
                <a:moveTo>
                  <a:pt x="2092586" y="412871"/>
                </a:moveTo>
                <a:cubicBezTo>
                  <a:pt x="2079808" y="412871"/>
                  <a:pt x="2067976" y="414297"/>
                  <a:pt x="2056618" y="418101"/>
                </a:cubicBezTo>
                <a:cubicBezTo>
                  <a:pt x="2045260" y="421429"/>
                  <a:pt x="2035322" y="425708"/>
                  <a:pt x="2026330" y="430938"/>
                </a:cubicBezTo>
                <a:cubicBezTo>
                  <a:pt x="2026330" y="469924"/>
                  <a:pt x="2026330" y="469924"/>
                  <a:pt x="2026330" y="469924"/>
                </a:cubicBezTo>
                <a:cubicBezTo>
                  <a:pt x="2035795" y="463744"/>
                  <a:pt x="2045733" y="458989"/>
                  <a:pt x="2056618" y="455661"/>
                </a:cubicBezTo>
                <a:cubicBezTo>
                  <a:pt x="2067503" y="452333"/>
                  <a:pt x="2077915" y="450431"/>
                  <a:pt x="2088326" y="450431"/>
                </a:cubicBezTo>
                <a:cubicBezTo>
                  <a:pt x="2105364" y="450431"/>
                  <a:pt x="2118615" y="454710"/>
                  <a:pt x="2127134" y="463268"/>
                </a:cubicBezTo>
                <a:cubicBezTo>
                  <a:pt x="2135179" y="471351"/>
                  <a:pt x="2139438" y="483712"/>
                  <a:pt x="2139438" y="499402"/>
                </a:cubicBezTo>
                <a:cubicBezTo>
                  <a:pt x="2139438" y="500353"/>
                  <a:pt x="2139438" y="500353"/>
                  <a:pt x="2139438" y="500353"/>
                </a:cubicBezTo>
                <a:cubicBezTo>
                  <a:pt x="2124294" y="493696"/>
                  <a:pt x="2107730" y="490844"/>
                  <a:pt x="2089746" y="490844"/>
                </a:cubicBezTo>
                <a:cubicBezTo>
                  <a:pt x="2074129" y="490844"/>
                  <a:pt x="2060878" y="493221"/>
                  <a:pt x="2049046" y="498926"/>
                </a:cubicBezTo>
                <a:cubicBezTo>
                  <a:pt x="2037688" y="504156"/>
                  <a:pt x="2028696" y="511763"/>
                  <a:pt x="2022070" y="521272"/>
                </a:cubicBezTo>
                <a:cubicBezTo>
                  <a:pt x="2015918" y="530781"/>
                  <a:pt x="2012605" y="541716"/>
                  <a:pt x="2012605" y="555029"/>
                </a:cubicBezTo>
                <a:cubicBezTo>
                  <a:pt x="2012605" y="572620"/>
                  <a:pt x="2018758" y="587359"/>
                  <a:pt x="2030589" y="598294"/>
                </a:cubicBezTo>
                <a:cubicBezTo>
                  <a:pt x="2042420" y="608754"/>
                  <a:pt x="2058511" y="614459"/>
                  <a:pt x="2077915" y="614459"/>
                </a:cubicBezTo>
                <a:cubicBezTo>
                  <a:pt x="2092113" y="614459"/>
                  <a:pt x="2104417" y="611607"/>
                  <a:pt x="2115776" y="605426"/>
                </a:cubicBezTo>
                <a:cubicBezTo>
                  <a:pt x="2127134" y="599245"/>
                  <a:pt x="2135652" y="591162"/>
                  <a:pt x="2140858" y="580703"/>
                </a:cubicBezTo>
                <a:cubicBezTo>
                  <a:pt x="2141331" y="608278"/>
                  <a:pt x="2141331" y="608278"/>
                  <a:pt x="2141331" y="608278"/>
                </a:cubicBezTo>
                <a:cubicBezTo>
                  <a:pt x="2179665" y="608278"/>
                  <a:pt x="2179665" y="608278"/>
                  <a:pt x="2179665" y="608278"/>
                </a:cubicBezTo>
                <a:cubicBezTo>
                  <a:pt x="2179665" y="496549"/>
                  <a:pt x="2179665" y="496549"/>
                  <a:pt x="2179665" y="496549"/>
                </a:cubicBezTo>
                <a:cubicBezTo>
                  <a:pt x="2179665" y="469449"/>
                  <a:pt x="2172093" y="449005"/>
                  <a:pt x="2157422" y="434266"/>
                </a:cubicBezTo>
                <a:cubicBezTo>
                  <a:pt x="2142278" y="420003"/>
                  <a:pt x="2120508" y="412871"/>
                  <a:pt x="2092586" y="412871"/>
                </a:cubicBezTo>
                <a:close/>
                <a:moveTo>
                  <a:pt x="3067069" y="371367"/>
                </a:moveTo>
                <a:cubicBezTo>
                  <a:pt x="3067069" y="371367"/>
                  <a:pt x="3067069" y="371367"/>
                  <a:pt x="3067069" y="421793"/>
                </a:cubicBezTo>
                <a:cubicBezTo>
                  <a:pt x="3067069" y="421793"/>
                  <a:pt x="3067069" y="421793"/>
                  <a:pt x="3027872" y="421793"/>
                </a:cubicBezTo>
                <a:cubicBezTo>
                  <a:pt x="3027872" y="421793"/>
                  <a:pt x="3027872" y="421793"/>
                  <a:pt x="3027872" y="458899"/>
                </a:cubicBezTo>
                <a:cubicBezTo>
                  <a:pt x="3027872" y="458899"/>
                  <a:pt x="3027872" y="458899"/>
                  <a:pt x="3067069" y="458899"/>
                </a:cubicBezTo>
                <a:cubicBezTo>
                  <a:pt x="3067069" y="458899"/>
                  <a:pt x="3067069" y="458899"/>
                  <a:pt x="3067069" y="538820"/>
                </a:cubicBezTo>
                <a:cubicBezTo>
                  <a:pt x="3067069" y="563082"/>
                  <a:pt x="3072263" y="582110"/>
                  <a:pt x="3083125" y="594955"/>
                </a:cubicBezTo>
                <a:cubicBezTo>
                  <a:pt x="3093514" y="607799"/>
                  <a:pt x="3110043" y="614459"/>
                  <a:pt x="3132238" y="614459"/>
                </a:cubicBezTo>
                <a:cubicBezTo>
                  <a:pt x="3140739" y="614459"/>
                  <a:pt x="3149239" y="613508"/>
                  <a:pt x="3157268" y="611605"/>
                </a:cubicBezTo>
                <a:cubicBezTo>
                  <a:pt x="3165296" y="609702"/>
                  <a:pt x="3172852" y="606848"/>
                  <a:pt x="3179935" y="603518"/>
                </a:cubicBezTo>
                <a:cubicBezTo>
                  <a:pt x="3179935" y="603518"/>
                  <a:pt x="3179935" y="603518"/>
                  <a:pt x="3179935" y="563082"/>
                </a:cubicBezTo>
                <a:cubicBezTo>
                  <a:pt x="3174741" y="565936"/>
                  <a:pt x="3168601" y="568790"/>
                  <a:pt x="3161518" y="571169"/>
                </a:cubicBezTo>
                <a:cubicBezTo>
                  <a:pt x="3153962" y="573547"/>
                  <a:pt x="3147350" y="574499"/>
                  <a:pt x="3140267" y="574499"/>
                </a:cubicBezTo>
                <a:cubicBezTo>
                  <a:pt x="3130350" y="574499"/>
                  <a:pt x="3122794" y="571644"/>
                  <a:pt x="3118071" y="564984"/>
                </a:cubicBezTo>
                <a:cubicBezTo>
                  <a:pt x="3113349" y="558800"/>
                  <a:pt x="3110988" y="548810"/>
                  <a:pt x="3110988" y="535014"/>
                </a:cubicBezTo>
                <a:cubicBezTo>
                  <a:pt x="3110988" y="535014"/>
                  <a:pt x="3110988" y="535014"/>
                  <a:pt x="3110988" y="458899"/>
                </a:cubicBezTo>
                <a:cubicBezTo>
                  <a:pt x="3110988" y="458899"/>
                  <a:pt x="3110988" y="458899"/>
                  <a:pt x="3172379" y="458899"/>
                </a:cubicBezTo>
                <a:cubicBezTo>
                  <a:pt x="3172379" y="458899"/>
                  <a:pt x="3172379" y="458899"/>
                  <a:pt x="3172379" y="421793"/>
                </a:cubicBezTo>
                <a:cubicBezTo>
                  <a:pt x="3172379" y="421793"/>
                  <a:pt x="3172379" y="421793"/>
                  <a:pt x="3110988" y="421793"/>
                </a:cubicBezTo>
                <a:cubicBezTo>
                  <a:pt x="3110988" y="421793"/>
                  <a:pt x="3110988" y="421793"/>
                  <a:pt x="3110988" y="371367"/>
                </a:cubicBezTo>
                <a:cubicBezTo>
                  <a:pt x="3110988" y="371367"/>
                  <a:pt x="3110988" y="371367"/>
                  <a:pt x="3067069" y="371367"/>
                </a:cubicBezTo>
                <a:close/>
                <a:moveTo>
                  <a:pt x="1901415" y="352534"/>
                </a:moveTo>
                <a:cubicBezTo>
                  <a:pt x="1881566" y="352534"/>
                  <a:pt x="1863607" y="355862"/>
                  <a:pt x="1847066" y="362041"/>
                </a:cubicBezTo>
                <a:cubicBezTo>
                  <a:pt x="1830524" y="368696"/>
                  <a:pt x="1816347" y="377253"/>
                  <a:pt x="1804531" y="389137"/>
                </a:cubicBezTo>
                <a:cubicBezTo>
                  <a:pt x="1792716" y="400546"/>
                  <a:pt x="1783264" y="414331"/>
                  <a:pt x="1776648" y="430494"/>
                </a:cubicBezTo>
                <a:cubicBezTo>
                  <a:pt x="1770031" y="446656"/>
                  <a:pt x="1766723" y="464244"/>
                  <a:pt x="1766723" y="483259"/>
                </a:cubicBezTo>
                <a:cubicBezTo>
                  <a:pt x="1766723" y="509879"/>
                  <a:pt x="1772394" y="533172"/>
                  <a:pt x="1783264" y="552662"/>
                </a:cubicBezTo>
                <a:cubicBezTo>
                  <a:pt x="1794607" y="572152"/>
                  <a:pt x="1809730" y="587363"/>
                  <a:pt x="1829579" y="598297"/>
                </a:cubicBezTo>
                <a:cubicBezTo>
                  <a:pt x="1849429" y="609230"/>
                  <a:pt x="1872586" y="614459"/>
                  <a:pt x="1898579" y="614459"/>
                </a:cubicBezTo>
                <a:cubicBezTo>
                  <a:pt x="1913230" y="614459"/>
                  <a:pt x="1926935" y="612558"/>
                  <a:pt x="1940168" y="609706"/>
                </a:cubicBezTo>
                <a:cubicBezTo>
                  <a:pt x="1953401" y="606378"/>
                  <a:pt x="1965689" y="601624"/>
                  <a:pt x="1977031" y="596395"/>
                </a:cubicBezTo>
                <a:cubicBezTo>
                  <a:pt x="1977031" y="596395"/>
                  <a:pt x="1977031" y="596395"/>
                  <a:pt x="1977031" y="554088"/>
                </a:cubicBezTo>
                <a:cubicBezTo>
                  <a:pt x="1965689" y="559317"/>
                  <a:pt x="1952929" y="563595"/>
                  <a:pt x="1939696" y="567398"/>
                </a:cubicBezTo>
                <a:cubicBezTo>
                  <a:pt x="1926463" y="570726"/>
                  <a:pt x="1913703" y="572152"/>
                  <a:pt x="1902360" y="572152"/>
                </a:cubicBezTo>
                <a:cubicBezTo>
                  <a:pt x="1884401" y="572152"/>
                  <a:pt x="1868805" y="568824"/>
                  <a:pt x="1855573" y="561694"/>
                </a:cubicBezTo>
                <a:cubicBezTo>
                  <a:pt x="1842340" y="554563"/>
                  <a:pt x="1832415" y="544105"/>
                  <a:pt x="1824853" y="530795"/>
                </a:cubicBezTo>
                <a:cubicBezTo>
                  <a:pt x="1817764" y="517485"/>
                  <a:pt x="1814456" y="501798"/>
                  <a:pt x="1814456" y="483259"/>
                </a:cubicBezTo>
                <a:cubicBezTo>
                  <a:pt x="1814456" y="465195"/>
                  <a:pt x="1817764" y="449983"/>
                  <a:pt x="1825326" y="436673"/>
                </a:cubicBezTo>
                <a:cubicBezTo>
                  <a:pt x="1832415" y="423363"/>
                  <a:pt x="1842812" y="412905"/>
                  <a:pt x="1856045" y="405775"/>
                </a:cubicBezTo>
                <a:cubicBezTo>
                  <a:pt x="1868805" y="398169"/>
                  <a:pt x="1884401" y="394841"/>
                  <a:pt x="1901415" y="394841"/>
                </a:cubicBezTo>
                <a:cubicBezTo>
                  <a:pt x="1912757" y="394841"/>
                  <a:pt x="1925045" y="396268"/>
                  <a:pt x="1937805" y="399595"/>
                </a:cubicBezTo>
                <a:cubicBezTo>
                  <a:pt x="1950565" y="403398"/>
                  <a:pt x="1963798" y="408152"/>
                  <a:pt x="1977031" y="415282"/>
                </a:cubicBezTo>
                <a:cubicBezTo>
                  <a:pt x="1977031" y="415282"/>
                  <a:pt x="1977031" y="415282"/>
                  <a:pt x="1977031" y="371549"/>
                </a:cubicBezTo>
                <a:cubicBezTo>
                  <a:pt x="1966634" y="365844"/>
                  <a:pt x="1955292" y="361091"/>
                  <a:pt x="1942059" y="357763"/>
                </a:cubicBezTo>
                <a:cubicBezTo>
                  <a:pt x="1928353" y="354436"/>
                  <a:pt x="1915120" y="352534"/>
                  <a:pt x="1901415" y="352534"/>
                </a:cubicBezTo>
                <a:close/>
                <a:moveTo>
                  <a:pt x="1201412" y="352534"/>
                </a:moveTo>
                <a:cubicBezTo>
                  <a:pt x="1173995" y="352534"/>
                  <a:pt x="1149886" y="358238"/>
                  <a:pt x="1129087" y="369172"/>
                </a:cubicBezTo>
                <a:cubicBezTo>
                  <a:pt x="1108288" y="380105"/>
                  <a:pt x="1091743" y="395792"/>
                  <a:pt x="1080398" y="415282"/>
                </a:cubicBezTo>
                <a:cubicBezTo>
                  <a:pt x="1068580" y="435247"/>
                  <a:pt x="1062907" y="458065"/>
                  <a:pt x="1062907" y="484210"/>
                </a:cubicBezTo>
                <a:cubicBezTo>
                  <a:pt x="1062907" y="510830"/>
                  <a:pt x="1068580" y="533647"/>
                  <a:pt x="1079452" y="553137"/>
                </a:cubicBezTo>
                <a:cubicBezTo>
                  <a:pt x="1090797" y="572627"/>
                  <a:pt x="1106397" y="587839"/>
                  <a:pt x="1126723" y="598297"/>
                </a:cubicBezTo>
                <a:cubicBezTo>
                  <a:pt x="1147050" y="609230"/>
                  <a:pt x="1170686" y="614459"/>
                  <a:pt x="1197630" y="614459"/>
                </a:cubicBezTo>
                <a:cubicBezTo>
                  <a:pt x="1231193" y="614459"/>
                  <a:pt x="1262865" y="608279"/>
                  <a:pt x="1291700" y="595920"/>
                </a:cubicBezTo>
                <a:cubicBezTo>
                  <a:pt x="1291700" y="595920"/>
                  <a:pt x="1291700" y="595920"/>
                  <a:pt x="1291700" y="470899"/>
                </a:cubicBezTo>
                <a:cubicBezTo>
                  <a:pt x="1291700" y="470899"/>
                  <a:pt x="1291700" y="470899"/>
                  <a:pt x="1198103" y="470899"/>
                </a:cubicBezTo>
                <a:cubicBezTo>
                  <a:pt x="1198103" y="470899"/>
                  <a:pt x="1198103" y="470899"/>
                  <a:pt x="1198103" y="510830"/>
                </a:cubicBezTo>
                <a:cubicBezTo>
                  <a:pt x="1198103" y="510830"/>
                  <a:pt x="1198103" y="510830"/>
                  <a:pt x="1249629" y="510830"/>
                </a:cubicBezTo>
                <a:cubicBezTo>
                  <a:pt x="1249629" y="510830"/>
                  <a:pt x="1249629" y="510830"/>
                  <a:pt x="1249629" y="565497"/>
                </a:cubicBezTo>
                <a:cubicBezTo>
                  <a:pt x="1233557" y="570250"/>
                  <a:pt x="1217012" y="572627"/>
                  <a:pt x="1199994" y="572627"/>
                </a:cubicBezTo>
                <a:cubicBezTo>
                  <a:pt x="1181558" y="572627"/>
                  <a:pt x="1165486" y="569300"/>
                  <a:pt x="1151777" y="562169"/>
                </a:cubicBezTo>
                <a:cubicBezTo>
                  <a:pt x="1138069" y="555039"/>
                  <a:pt x="1127669" y="544581"/>
                  <a:pt x="1120578" y="531271"/>
                </a:cubicBezTo>
                <a:cubicBezTo>
                  <a:pt x="1113015" y="517960"/>
                  <a:pt x="1109706" y="501798"/>
                  <a:pt x="1109706" y="483259"/>
                </a:cubicBezTo>
                <a:cubicBezTo>
                  <a:pt x="1109706" y="465670"/>
                  <a:pt x="1113488" y="449983"/>
                  <a:pt x="1121051" y="436673"/>
                </a:cubicBezTo>
                <a:cubicBezTo>
                  <a:pt x="1128614" y="423363"/>
                  <a:pt x="1139014" y="412905"/>
                  <a:pt x="1152250" y="405299"/>
                </a:cubicBezTo>
                <a:cubicBezTo>
                  <a:pt x="1165959" y="398169"/>
                  <a:pt x="1181558" y="394366"/>
                  <a:pt x="1199521" y="394366"/>
                </a:cubicBezTo>
                <a:cubicBezTo>
                  <a:pt x="1227884" y="394366"/>
                  <a:pt x="1254829" y="400546"/>
                  <a:pt x="1280828" y="412430"/>
                </a:cubicBezTo>
                <a:cubicBezTo>
                  <a:pt x="1280828" y="412430"/>
                  <a:pt x="1280828" y="412430"/>
                  <a:pt x="1280828" y="369647"/>
                </a:cubicBezTo>
                <a:cubicBezTo>
                  <a:pt x="1269010" y="364418"/>
                  <a:pt x="1256719" y="360615"/>
                  <a:pt x="1243956" y="357288"/>
                </a:cubicBezTo>
                <a:cubicBezTo>
                  <a:pt x="1231193" y="353960"/>
                  <a:pt x="1217012" y="352534"/>
                  <a:pt x="1201412" y="352534"/>
                </a:cubicBezTo>
                <a:close/>
                <a:moveTo>
                  <a:pt x="597009" y="345657"/>
                </a:moveTo>
                <a:cubicBezTo>
                  <a:pt x="497757" y="403249"/>
                  <a:pt x="497757" y="403249"/>
                  <a:pt x="497757" y="403249"/>
                </a:cubicBezTo>
                <a:cubicBezTo>
                  <a:pt x="490668" y="407057"/>
                  <a:pt x="484996" y="417052"/>
                  <a:pt x="484996" y="425143"/>
                </a:cubicBezTo>
                <a:cubicBezTo>
                  <a:pt x="484996" y="540803"/>
                  <a:pt x="484996" y="540803"/>
                  <a:pt x="484996" y="540803"/>
                </a:cubicBezTo>
                <a:cubicBezTo>
                  <a:pt x="484996" y="548894"/>
                  <a:pt x="490668" y="558890"/>
                  <a:pt x="497757" y="562697"/>
                </a:cubicBezTo>
                <a:cubicBezTo>
                  <a:pt x="597009" y="620289"/>
                  <a:pt x="597009" y="620289"/>
                  <a:pt x="597009" y="620289"/>
                </a:cubicBezTo>
                <a:cubicBezTo>
                  <a:pt x="604098" y="624573"/>
                  <a:pt x="615441" y="624573"/>
                  <a:pt x="622531" y="620289"/>
                </a:cubicBezTo>
                <a:cubicBezTo>
                  <a:pt x="896655" y="461317"/>
                  <a:pt x="896655" y="461317"/>
                  <a:pt x="896655" y="461317"/>
                </a:cubicBezTo>
                <a:cubicBezTo>
                  <a:pt x="744942" y="578404"/>
                  <a:pt x="744942" y="578404"/>
                  <a:pt x="744942" y="578404"/>
                </a:cubicBezTo>
                <a:cubicBezTo>
                  <a:pt x="817254" y="620289"/>
                  <a:pt x="817254" y="620289"/>
                  <a:pt x="817254" y="620289"/>
                </a:cubicBezTo>
                <a:cubicBezTo>
                  <a:pt x="824343" y="624573"/>
                  <a:pt x="835686" y="624573"/>
                  <a:pt x="842775" y="620289"/>
                </a:cubicBezTo>
                <a:cubicBezTo>
                  <a:pt x="942027" y="562697"/>
                  <a:pt x="942027" y="562697"/>
                  <a:pt x="942027" y="562697"/>
                </a:cubicBezTo>
                <a:cubicBezTo>
                  <a:pt x="949117" y="558890"/>
                  <a:pt x="954788" y="548894"/>
                  <a:pt x="954788" y="540803"/>
                </a:cubicBezTo>
                <a:cubicBezTo>
                  <a:pt x="954788" y="425619"/>
                  <a:pt x="954788" y="425619"/>
                  <a:pt x="954788" y="425619"/>
                </a:cubicBezTo>
                <a:cubicBezTo>
                  <a:pt x="954788" y="417052"/>
                  <a:pt x="949117" y="407057"/>
                  <a:pt x="942027" y="403249"/>
                </a:cubicBezTo>
                <a:cubicBezTo>
                  <a:pt x="842775" y="345657"/>
                  <a:pt x="842775" y="345657"/>
                  <a:pt x="842775" y="345657"/>
                </a:cubicBezTo>
                <a:cubicBezTo>
                  <a:pt x="835686" y="341373"/>
                  <a:pt x="824343" y="341373"/>
                  <a:pt x="817254" y="345657"/>
                </a:cubicBezTo>
                <a:cubicBezTo>
                  <a:pt x="543129" y="504630"/>
                  <a:pt x="543129" y="504630"/>
                  <a:pt x="543129" y="504630"/>
                </a:cubicBezTo>
                <a:cubicBezTo>
                  <a:pt x="694843" y="387542"/>
                  <a:pt x="694843" y="387542"/>
                  <a:pt x="694843" y="387542"/>
                </a:cubicBezTo>
                <a:cubicBezTo>
                  <a:pt x="622531" y="345657"/>
                  <a:pt x="622531" y="345657"/>
                  <a:pt x="622531" y="345657"/>
                </a:cubicBezTo>
                <a:cubicBezTo>
                  <a:pt x="615441" y="341373"/>
                  <a:pt x="604098" y="341373"/>
                  <a:pt x="597009" y="345657"/>
                </a:cubicBezTo>
                <a:close/>
                <a:moveTo>
                  <a:pt x="0" y="0"/>
                </a:moveTo>
                <a:lnTo>
                  <a:pt x="12191998" y="0"/>
                </a:lnTo>
                <a:lnTo>
                  <a:pt x="12191998" y="6858000"/>
                </a:lnTo>
                <a:lnTo>
                  <a:pt x="0" y="6858000"/>
                </a:lnTo>
                <a:close/>
              </a:path>
            </a:pathLst>
          </a:custGeom>
          <a:solidFill>
            <a:srgbClr val="F0F0F0"/>
          </a:solidFill>
        </p:spPr>
        <p:txBody>
          <a:bodyPr wrap="square">
            <a:noAutofit/>
          </a:bodyPr>
          <a:lstStyle>
            <a:lvl1pPr marL="0" marR="0" indent="0" algn="l" defTabSz="457200" rtl="0" eaLnBrk="1" fontAlgn="auto" latinLnBrk="0" hangingPunct="1">
              <a:lnSpc>
                <a:spcPct val="100000"/>
              </a:lnSpc>
              <a:spcBef>
                <a:spcPts val="0"/>
              </a:spcBef>
              <a:spcAft>
                <a:spcPts val="0"/>
              </a:spcAft>
              <a:buClrTx/>
              <a:buSzTx/>
              <a:buFont typeface="Arial"/>
              <a:buNone/>
              <a:tabLst/>
              <a:defRPr sz="1200">
                <a:solidFill>
                  <a:srgbClr val="FF0000"/>
                </a:solidFill>
              </a:defRPr>
            </a:lvl1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dirty="0"/>
              <a:t>Bring picture placeholder to front. Click on picture icon to insert picture. Reset layout and send picture to back.</a:t>
            </a:r>
          </a:p>
        </p:txBody>
      </p:sp>
      <p:sp>
        <p:nvSpPr>
          <p:cNvPr id="31" name="Title 1"/>
          <p:cNvSpPr>
            <a:spLocks noGrp="1"/>
          </p:cNvSpPr>
          <p:nvPr>
            <p:ph type="ctrTitle" hasCustomPrompt="1"/>
          </p:nvPr>
        </p:nvSpPr>
        <p:spPr>
          <a:xfrm>
            <a:off x="448437" y="1764792"/>
            <a:ext cx="9365488" cy="1600200"/>
          </a:xfrm>
        </p:spPr>
        <p:txBody>
          <a:bodyPr vert="horz"/>
          <a:lstStyle>
            <a:lvl1pPr>
              <a:lnSpc>
                <a:spcPct val="90000"/>
              </a:lnSpc>
              <a:defRPr lang="en-US" sz="6000" b="1" i="0" kern="1200" cap="all" baseline="0" dirty="0">
                <a:solidFill>
                  <a:schemeClr val="tx2"/>
                </a:solidFill>
                <a:latin typeface="Arial Narrow" panose="020B0604020202020204" pitchFamily="34" charset="0"/>
                <a:ea typeface="+mj-ea"/>
                <a:cs typeface="Arial Narrow" panose="020B0604020202020204" pitchFamily="34" charset="0"/>
              </a:defRPr>
            </a:lvl1pPr>
          </a:lstStyle>
          <a:p>
            <a:r>
              <a:rPr lang="en-US" dirty="0" smtClean="0"/>
              <a:t>MAIN TITLE placeholder  - USE LIGHT PHOTO</a:t>
            </a:r>
            <a:endParaRPr lang="en-US" dirty="0"/>
          </a:p>
        </p:txBody>
      </p:sp>
      <p:sp>
        <p:nvSpPr>
          <p:cNvPr id="32" name="Subtitle 2"/>
          <p:cNvSpPr>
            <a:spLocks noGrp="1"/>
          </p:cNvSpPr>
          <p:nvPr>
            <p:ph type="subTitle" idx="1" hasCustomPrompt="1"/>
          </p:nvPr>
        </p:nvSpPr>
        <p:spPr>
          <a:xfrm>
            <a:off x="462026" y="3560887"/>
            <a:ext cx="9310624" cy="807913"/>
          </a:xfrm>
        </p:spPr>
        <p:txBody>
          <a:bodyPr anchor="t"/>
          <a:lstStyle>
            <a:lvl1pPr marL="0" indent="0" algn="l">
              <a:buNone/>
              <a:defRPr sz="24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 goes here</a:t>
            </a:r>
          </a:p>
        </p:txBody>
      </p:sp>
      <p:sp>
        <p:nvSpPr>
          <p:cNvPr id="33" name="Text Placeholder 3">
            <a:extLst>
              <a:ext uri="{FF2B5EF4-FFF2-40B4-BE49-F238E27FC236}">
                <a16:creationId xmlns:a16="http://schemas.microsoft.com/office/drawing/2014/main" id="{408D7265-22AD-444D-9DAE-694197297FA6}"/>
              </a:ext>
            </a:extLst>
          </p:cNvPr>
          <p:cNvSpPr>
            <a:spLocks noGrp="1"/>
          </p:cNvSpPr>
          <p:nvPr>
            <p:ph type="body" sz="half" idx="2" hasCustomPrompt="1"/>
          </p:nvPr>
        </p:nvSpPr>
        <p:spPr>
          <a:xfrm>
            <a:off x="485775" y="4870889"/>
            <a:ext cx="7400925" cy="1038525"/>
          </a:xfrm>
        </p:spPr>
        <p:txBody>
          <a:bodyPr anchor="b" anchorCtr="0"/>
          <a:lstStyle>
            <a:lvl1pPr marL="0" marR="0" indent="0" algn="l" defTabSz="457200" rtl="0" eaLnBrk="1" fontAlgn="auto" latinLnBrk="0" hangingPunct="1">
              <a:lnSpc>
                <a:spcPct val="100000"/>
              </a:lnSpc>
              <a:spcBef>
                <a:spcPts val="0"/>
              </a:spcBef>
              <a:spcAft>
                <a:spcPts val="0"/>
              </a:spcAft>
              <a:buClrTx/>
              <a:buSzTx/>
              <a:buFont typeface="Arial"/>
              <a:buNone/>
              <a:tabLst/>
              <a:defRPr lang="en-US" sz="1400">
                <a:solidFill>
                  <a:schemeClr val="tx1"/>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dirty="0">
                <a:effectLst/>
                <a:latin typeface="Arial" panose="020B0604020202020204" pitchFamily="34" charset="0"/>
              </a:rPr>
              <a:t>Client name (optional)</a:t>
            </a:r>
            <a:br>
              <a:rPr lang="en-US" dirty="0">
                <a:effectLst/>
                <a:latin typeface="Arial" panose="020B0604020202020204" pitchFamily="34" charset="0"/>
              </a:rPr>
            </a:br>
            <a:r>
              <a:rPr lang="en-US" dirty="0">
                <a:effectLst/>
                <a:latin typeface="Arial" panose="020B0604020202020204" pitchFamily="34" charset="0"/>
              </a:rPr>
              <a:t>Month 00, 20XX</a:t>
            </a:r>
            <a:br>
              <a:rPr lang="en-US" dirty="0">
                <a:effectLst/>
                <a:latin typeface="Arial" panose="020B0604020202020204" pitchFamily="34" charset="0"/>
              </a:rPr>
            </a:br>
            <a:r>
              <a:rPr lang="en-US" dirty="0">
                <a:effectLst/>
                <a:latin typeface="Arial" panose="020B0604020202020204" pitchFamily="34" charset="0"/>
              </a:rPr>
              <a:t>Presenter1, Job Title, location  |  Presenter2, Job Title, location</a:t>
            </a:r>
            <a:br>
              <a:rPr lang="en-US" dirty="0">
                <a:effectLst/>
                <a:latin typeface="Arial" panose="020B0604020202020204" pitchFamily="34" charset="0"/>
              </a:rPr>
            </a:br>
            <a:r>
              <a:rPr lang="en-US" dirty="0">
                <a:effectLst/>
                <a:latin typeface="Arial" panose="020B0604020202020204" pitchFamily="34" charset="0"/>
              </a:rPr>
              <a:t/>
            </a:r>
            <a:br>
              <a:rPr lang="en-US" dirty="0">
                <a:effectLst/>
                <a:latin typeface="Arial" panose="020B0604020202020204" pitchFamily="34" charset="0"/>
              </a:rPr>
            </a:br>
            <a:r>
              <a:rPr lang="en-US" dirty="0">
                <a:effectLst/>
                <a:latin typeface="Arial" panose="020B0604020202020204" pitchFamily="34" charset="0"/>
              </a:rPr>
              <a:t>Tagline (optional)</a:t>
            </a:r>
          </a:p>
        </p:txBody>
      </p:sp>
      <p:sp>
        <p:nvSpPr>
          <p:cNvPr id="34" name="Line 54"/>
          <p:cNvSpPr>
            <a:spLocks noChangeShapeType="1"/>
          </p:cNvSpPr>
          <p:nvPr userDrawn="1"/>
        </p:nvSpPr>
        <p:spPr bwMode="auto">
          <a:xfrm>
            <a:off x="2002840" y="499365"/>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Line 55"/>
          <p:cNvSpPr>
            <a:spLocks noChangeShapeType="1"/>
          </p:cNvSpPr>
          <p:nvPr userDrawn="1"/>
        </p:nvSpPr>
        <p:spPr bwMode="auto">
          <a:xfrm>
            <a:off x="2002840" y="499365"/>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 name="Picture Placeholder 5">
            <a:extLst>
              <a:ext uri="{FF2B5EF4-FFF2-40B4-BE49-F238E27FC236}">
                <a16:creationId xmlns:a16="http://schemas.microsoft.com/office/drawing/2014/main" id="{2929EB37-3AE6-8A4E-BF4E-DB8B5DE61D2A}"/>
              </a:ext>
            </a:extLst>
          </p:cNvPr>
          <p:cNvSpPr>
            <a:spLocks noGrp="1" noChangeAspect="1"/>
          </p:cNvSpPr>
          <p:nvPr>
            <p:ph type="pic" sz="quarter" idx="11" hasCustomPrompt="1"/>
          </p:nvPr>
        </p:nvSpPr>
        <p:spPr>
          <a:xfrm>
            <a:off x="8707120" y="361951"/>
            <a:ext cx="3002280" cy="338459"/>
          </a:xfrm>
          <a:noFill/>
        </p:spPr>
        <p:txBody>
          <a:bodyPr anchor="t" anchorCtr="0"/>
          <a:lstStyle>
            <a:lvl1pPr algn="r">
              <a:defRPr sz="1000">
                <a:solidFill>
                  <a:srgbClr val="FF0000"/>
                </a:solidFill>
              </a:defRPr>
            </a:lvl1pPr>
          </a:lstStyle>
          <a:p>
            <a:r>
              <a:rPr lang="en-US" dirty="0" smtClean="0"/>
              <a:t>Placeholder for a third party or a client logo if needed.</a:t>
            </a:r>
            <a:br>
              <a:rPr lang="en-US" dirty="0" smtClean="0"/>
            </a:br>
            <a:endParaRPr lang="en-US" dirty="0" smtClean="0"/>
          </a:p>
        </p:txBody>
      </p:sp>
      <p:sp>
        <p:nvSpPr>
          <p:cNvPr id="37" name="Text Placeholder 7"/>
          <p:cNvSpPr>
            <a:spLocks noGrp="1"/>
          </p:cNvSpPr>
          <p:nvPr>
            <p:ph type="body" sz="quarter" idx="13" hasCustomPrompt="1"/>
          </p:nvPr>
        </p:nvSpPr>
        <p:spPr>
          <a:xfrm>
            <a:off x="8707120" y="1081847"/>
            <a:ext cx="2875280" cy="639323"/>
          </a:xfrm>
        </p:spPr>
        <p:txBody>
          <a:bodyPr/>
          <a:lstStyle>
            <a:lvl1pPr>
              <a:defRPr sz="1000" baseline="0">
                <a:solidFill>
                  <a:srgbClr val="FF0000"/>
                </a:solidFill>
              </a:defRPr>
            </a:lvl1pPr>
          </a:lstStyle>
          <a:p>
            <a:pPr lvl="0"/>
            <a:r>
              <a:rPr lang="en-US" dirty="0" smtClean="0"/>
              <a:t>Zoom in on placeholder until image icon appears. Click icon to insert your image. Once inserted, go to Format tab &gt; click Crop &gt; select “Fit”. Size up as needed if you have a vertical or square logo.  </a:t>
            </a:r>
          </a:p>
        </p:txBody>
      </p:sp>
      <p:sp>
        <p:nvSpPr>
          <p:cNvPr id="38" name="Text Placeholder 7"/>
          <p:cNvSpPr>
            <a:spLocks noGrp="1"/>
          </p:cNvSpPr>
          <p:nvPr>
            <p:ph type="body" sz="quarter" idx="14" hasCustomPrompt="1"/>
          </p:nvPr>
        </p:nvSpPr>
        <p:spPr>
          <a:xfrm>
            <a:off x="8648065" y="744032"/>
            <a:ext cx="213995" cy="288666"/>
          </a:xfrm>
          <a:prstGeom prst="upArrow">
            <a:avLst>
              <a:gd name="adj1" fmla="val 33976"/>
              <a:gd name="adj2" fmla="val 50000"/>
            </a:avLst>
          </a:prstGeom>
          <a:solidFill>
            <a:srgbClr val="FF0000"/>
          </a:solidFill>
        </p:spPr>
        <p:txBody>
          <a:bodyPr/>
          <a:lstStyle>
            <a:lvl1pPr>
              <a:defRPr sz="1000" baseline="0">
                <a:solidFill>
                  <a:srgbClr val="FF0000"/>
                </a:solidFill>
              </a:defRPr>
            </a:lvl1pPr>
          </a:lstStyle>
          <a:p>
            <a:pPr lvl="0"/>
            <a:r>
              <a:rPr lang="en-US" dirty="0" smtClean="0"/>
              <a:t> </a:t>
            </a:r>
          </a:p>
        </p:txBody>
      </p:sp>
      <p:sp>
        <p:nvSpPr>
          <p:cNvPr id="39" name="Text Placeholder 7"/>
          <p:cNvSpPr>
            <a:spLocks noGrp="1"/>
          </p:cNvSpPr>
          <p:nvPr>
            <p:ph type="body" sz="quarter" idx="15" hasCustomPrompt="1"/>
          </p:nvPr>
        </p:nvSpPr>
        <p:spPr>
          <a:xfrm>
            <a:off x="448437" y="816206"/>
            <a:ext cx="7243280" cy="752691"/>
          </a:xfrm>
          <a:noFill/>
        </p:spPr>
        <p:txBody>
          <a:bodyPr/>
          <a:lstStyle>
            <a:lvl1pPr>
              <a:spcAft>
                <a:spcPts val="0"/>
              </a:spcAft>
              <a:defRPr sz="1400" b="1" baseline="0">
                <a:solidFill>
                  <a:srgbClr val="FF0000"/>
                </a:solidFill>
              </a:defRPr>
            </a:lvl1pPr>
          </a:lstStyle>
          <a:p>
            <a:r>
              <a:rPr lang="en-US" dirty="0" smtClean="0"/>
              <a:t>Note: Use this format with a lighter photo as your background. If using a third party or client logo, it needs to have a transparent background and have enough contrast against the photo. Please visit company logo library on Global Sales SharePoint site. </a:t>
            </a:r>
          </a:p>
          <a:p>
            <a:endParaRPr lang="en-US" dirty="0" smtClean="0"/>
          </a:p>
        </p:txBody>
      </p:sp>
    </p:spTree>
    <p:extLst>
      <p:ext uri="{BB962C8B-B14F-4D97-AF65-F5344CB8AC3E}">
        <p14:creationId xmlns:p14="http://schemas.microsoft.com/office/powerpoint/2010/main" val="417155916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p:cSld name="COVERS FOR CAB">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7FE7194-555C-BB44-A5DC-9D98C944E3BF}"/>
              </a:ext>
            </a:extLst>
          </p:cNvPr>
          <p:cNvGraphicFramePr>
            <a:graphicFrameLocks noChangeAspect="1"/>
          </p:cNvGraphicFramePr>
          <p:nvPr>
            <p:custDataLst>
              <p:tags r:id="rId2"/>
            </p:custDataLst>
            <p:extLst>
              <p:ext uri="{D42A27DB-BD31-4B8C-83A1-F6EECF244321}">
                <p14:modId xmlns:p14="http://schemas.microsoft.com/office/powerpoint/2010/main" val="24828616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47399"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A7FE7194-555C-BB44-A5DC-9D98C944E3BF}"/>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4" name="TextBox 3">
            <a:extLst>
              <a:ext uri="{FF2B5EF4-FFF2-40B4-BE49-F238E27FC236}">
                <a16:creationId xmlns:a16="http://schemas.microsoft.com/office/drawing/2014/main" id="{6A52E706-1FE4-5448-BF88-BDD1A5847DF0}"/>
              </a:ext>
            </a:extLst>
          </p:cNvPr>
          <p:cNvSpPr txBox="1"/>
          <p:nvPr userDrawn="1"/>
        </p:nvSpPr>
        <p:spPr>
          <a:xfrm>
            <a:off x="374977" y="474348"/>
            <a:ext cx="10902623" cy="5909310"/>
          </a:xfrm>
          <a:prstGeom prst="rect">
            <a:avLst/>
          </a:prstGeom>
          <a:noFill/>
        </p:spPr>
        <p:txBody>
          <a:bodyPr wrap="square" lIns="0" tIns="0" rIns="0" bIns="0" rtlCol="0" anchor="ctr">
            <a:spAutoFit/>
          </a:bodyPr>
          <a:lstStyle/>
          <a:p>
            <a:pPr algn="l"/>
            <a:r>
              <a:rPr lang="en-US" sz="9600" b="1" i="0" dirty="0">
                <a:solidFill>
                  <a:schemeClr val="bg1"/>
                </a:solidFill>
                <a:latin typeface="Arial Narrow" panose="020B0604020202020204" pitchFamily="34" charset="0"/>
                <a:cs typeface="Arial Narrow" panose="020B0604020202020204" pitchFamily="34" charset="0"/>
              </a:rPr>
              <a:t>COVERS FOR </a:t>
            </a:r>
            <a:r>
              <a:rPr lang="en-US" sz="9600" b="1" i="0" dirty="0" smtClean="0">
                <a:solidFill>
                  <a:schemeClr val="bg1"/>
                </a:solidFill>
                <a:latin typeface="Arial Narrow" panose="020B0604020202020204" pitchFamily="34" charset="0"/>
                <a:cs typeface="Arial Narrow" panose="020B0604020202020204" pitchFamily="34" charset="0"/>
              </a:rPr>
              <a:t>COLLABORATION</a:t>
            </a:r>
            <a:r>
              <a:rPr lang="en-US" sz="9600" b="1" i="0" baseline="0" dirty="0" smtClean="0">
                <a:solidFill>
                  <a:schemeClr val="bg1"/>
                </a:solidFill>
                <a:latin typeface="Arial Narrow" panose="020B0604020202020204" pitchFamily="34" charset="0"/>
                <a:cs typeface="Arial Narrow" panose="020B0604020202020204" pitchFamily="34" charset="0"/>
              </a:rPr>
              <a:t> AMONGST BUSINESS (CAB)</a:t>
            </a:r>
            <a:endParaRPr lang="en-US" sz="9600" b="0" i="0" dirty="0">
              <a:solidFill>
                <a:schemeClr val="bg1"/>
              </a:solidFill>
              <a:latin typeface="Arial Narrow" panose="020B0604020202020204" pitchFamily="34" charset="0"/>
              <a:cs typeface="Arial Narrow" panose="020B0604020202020204" pitchFamily="34" charset="0"/>
            </a:endParaRPr>
          </a:p>
        </p:txBody>
      </p:sp>
    </p:spTree>
    <p:extLst>
      <p:ext uri="{BB962C8B-B14F-4D97-AF65-F5344CB8AC3E}">
        <p14:creationId xmlns:p14="http://schemas.microsoft.com/office/powerpoint/2010/main" val="11451069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 content lef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2"/>
            </p:custDataLst>
            <p:extLst>
              <p:ext uri="{D42A27DB-BD31-4B8C-83A1-F6EECF244321}">
                <p14:modId xmlns:p14="http://schemas.microsoft.com/office/powerpoint/2010/main" val="407767765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415"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sz="half" idx="1"/>
          </p:nvPr>
        </p:nvSpPr>
        <p:spPr>
          <a:xfrm>
            <a:off x="485776" y="1616075"/>
            <a:ext cx="3578224" cy="4502150"/>
          </a:xfrm>
        </p:spPr>
        <p:txBody>
          <a:bodyPr/>
          <a:lstStyle>
            <a:lvl1pPr>
              <a:defRPr sz="1800"/>
            </a:lvl1pPr>
            <a:lvl2pPr>
              <a:defRPr sz="15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smtClean="0"/>
              <a:t>Edit Master text styles</a:t>
            </a:r>
          </a:p>
          <a:p>
            <a:pPr lvl="1"/>
            <a:r>
              <a:rPr lang="en-US" smtClean="0"/>
              <a:t>Second level</a:t>
            </a:r>
          </a:p>
        </p:txBody>
      </p:sp>
      <p:sp>
        <p:nvSpPr>
          <p:cNvPr id="8" name="Text Placeholder 3">
            <a:extLst>
              <a:ext uri="{FF2B5EF4-FFF2-40B4-BE49-F238E27FC236}">
                <a16:creationId xmlns:a16="http://schemas.microsoft.com/office/drawing/2014/main" id="{25820687-C0F4-2440-8B1E-0B8E11D80213}"/>
              </a:ext>
            </a:extLst>
          </p:cNvPr>
          <p:cNvSpPr>
            <a:spLocks noGrp="1"/>
          </p:cNvSpPr>
          <p:nvPr>
            <p:ph type="body" sz="half" idx="11" hasCustomPrompt="1"/>
          </p:nvPr>
        </p:nvSpPr>
        <p:spPr>
          <a:xfrm>
            <a:off x="6210301" y="6388100"/>
            <a:ext cx="4546600" cy="247650"/>
          </a:xfrm>
        </p:spPr>
        <p:txBody>
          <a:bodyPr anchor="b"/>
          <a:lstStyle>
            <a:lvl1pPr marL="0" indent="0" algn="r">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a footnote</a:t>
            </a:r>
          </a:p>
        </p:txBody>
      </p:sp>
      <p:sp>
        <p:nvSpPr>
          <p:cNvPr id="9" name="Content Placeholder 3">
            <a:extLst>
              <a:ext uri="{FF2B5EF4-FFF2-40B4-BE49-F238E27FC236}">
                <a16:creationId xmlns:a16="http://schemas.microsoft.com/office/drawing/2014/main" id="{945836DB-331C-BB4D-A888-9D9ECE5B27F2}"/>
              </a:ext>
            </a:extLst>
          </p:cNvPr>
          <p:cNvSpPr>
            <a:spLocks noGrp="1"/>
          </p:cNvSpPr>
          <p:nvPr>
            <p:ph sz="quarter" idx="12"/>
          </p:nvPr>
        </p:nvSpPr>
        <p:spPr>
          <a:xfrm>
            <a:off x="4305300" y="361950"/>
            <a:ext cx="7404100" cy="5756275"/>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itle 3">
            <a:extLst>
              <a:ext uri="{FF2B5EF4-FFF2-40B4-BE49-F238E27FC236}">
                <a16:creationId xmlns:a16="http://schemas.microsoft.com/office/drawing/2014/main" id="{98020D88-DDBE-B945-895B-9676A84EF58F}"/>
              </a:ext>
            </a:extLst>
          </p:cNvPr>
          <p:cNvSpPr>
            <a:spLocks noGrp="1"/>
          </p:cNvSpPr>
          <p:nvPr>
            <p:ph type="title" hasCustomPrompt="1"/>
          </p:nvPr>
        </p:nvSpPr>
        <p:spPr>
          <a:xfrm>
            <a:off x="458721" y="356540"/>
            <a:ext cx="3605279" cy="839213"/>
          </a:xfrm>
        </p:spPr>
        <p:txBody>
          <a:bodyPr/>
          <a:lstStyle/>
          <a:p>
            <a:r>
              <a:rPr lang="en-US" dirty="0"/>
              <a:t>Click to add title</a:t>
            </a:r>
          </a:p>
        </p:txBody>
      </p:sp>
    </p:spTree>
    <p:extLst>
      <p:ext uri="{BB962C8B-B14F-4D97-AF65-F5344CB8AC3E}">
        <p14:creationId xmlns:p14="http://schemas.microsoft.com/office/powerpoint/2010/main" val="9084040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Title slide A: light image_GC + Marsh">
    <p:bg>
      <p:bgPr>
        <a:gradFill>
          <a:gsLst>
            <a:gs pos="0">
              <a:srgbClr val="002C77"/>
            </a:gs>
            <a:gs pos="55000">
              <a:schemeClr val="accent1"/>
            </a:gs>
            <a:gs pos="59000">
              <a:srgbClr val="202020"/>
            </a:gs>
            <a:gs pos="100000">
              <a:srgbClr val="202020"/>
            </a:gs>
          </a:gsLst>
          <a:lin ang="5400000" scaled="1"/>
        </a:gradFill>
        <a:effectLst/>
      </p:bgPr>
    </p:bg>
    <p:spTree>
      <p:nvGrpSpPr>
        <p:cNvPr id="1" name=""/>
        <p:cNvGrpSpPr/>
        <p:nvPr/>
      </p:nvGrpSpPr>
      <p:grpSpPr>
        <a:xfrm>
          <a:off x="0" y="0"/>
          <a:ext cx="0" cy="0"/>
          <a:chOff x="0" y="0"/>
          <a:chExt cx="0" cy="0"/>
        </a:xfrm>
      </p:grpSpPr>
      <p:sp>
        <p:nvSpPr>
          <p:cNvPr id="12" name="Picture Placeholder 20">
            <a:extLst>
              <a:ext uri="{FF2B5EF4-FFF2-40B4-BE49-F238E27FC236}">
                <a16:creationId xmlns:a16="http://schemas.microsoft.com/office/drawing/2014/main" id="{73319BE5-0EF3-DD4B-B826-A8E9F0755285}"/>
              </a:ext>
            </a:extLst>
          </p:cNvPr>
          <p:cNvSpPr>
            <a:spLocks noGrp="1" noChangeAspect="1"/>
          </p:cNvSpPr>
          <p:nvPr>
            <p:ph type="pic" sz="quarter" idx="16" hasCustomPrompt="1"/>
          </p:nvPr>
        </p:nvSpPr>
        <p:spPr>
          <a:xfrm>
            <a:off x="-1" y="16"/>
            <a:ext cx="12192003" cy="6857987"/>
          </a:xfrm>
          <a:custGeom>
            <a:avLst/>
            <a:gdLst>
              <a:gd name="connsiteX0" fmla="*/ 2120962 w 12192003"/>
              <a:gd name="connsiteY0" fmla="*/ 6366103 h 6857987"/>
              <a:gd name="connsiteX1" fmla="*/ 2120962 w 12192003"/>
              <a:gd name="connsiteY1" fmla="*/ 6370277 h 6857987"/>
              <a:gd name="connsiteX2" fmla="*/ 2119132 w 12192003"/>
              <a:gd name="connsiteY2" fmla="*/ 6380944 h 6857987"/>
              <a:gd name="connsiteX3" fmla="*/ 2112268 w 12192003"/>
              <a:gd name="connsiteY3" fmla="*/ 6388364 h 6857987"/>
              <a:gd name="connsiteX4" fmla="*/ 2101286 w 12192003"/>
              <a:gd name="connsiteY4" fmla="*/ 6391147 h 6857987"/>
              <a:gd name="connsiteX5" fmla="*/ 2091676 w 12192003"/>
              <a:gd name="connsiteY5" fmla="*/ 6388364 h 6857987"/>
              <a:gd name="connsiteX6" fmla="*/ 2088473 w 12192003"/>
              <a:gd name="connsiteY6" fmla="*/ 6380944 h 6857987"/>
              <a:gd name="connsiteX7" fmla="*/ 2089846 w 12192003"/>
              <a:gd name="connsiteY7" fmla="*/ 6375842 h 6857987"/>
              <a:gd name="connsiteX8" fmla="*/ 2093964 w 12192003"/>
              <a:gd name="connsiteY8" fmla="*/ 6372596 h 6857987"/>
              <a:gd name="connsiteX9" fmla="*/ 2103574 w 12192003"/>
              <a:gd name="connsiteY9" fmla="*/ 6370277 h 6857987"/>
              <a:gd name="connsiteX10" fmla="*/ 2120962 w 12192003"/>
              <a:gd name="connsiteY10" fmla="*/ 6366103 h 6857987"/>
              <a:gd name="connsiteX11" fmla="*/ 1417035 w 12192003"/>
              <a:gd name="connsiteY11" fmla="*/ 6366103 h 6857987"/>
              <a:gd name="connsiteX12" fmla="*/ 1417035 w 12192003"/>
              <a:gd name="connsiteY12" fmla="*/ 6370277 h 6857987"/>
              <a:gd name="connsiteX13" fmla="*/ 1415204 w 12192003"/>
              <a:gd name="connsiteY13" fmla="*/ 6380944 h 6857987"/>
              <a:gd name="connsiteX14" fmla="*/ 1408340 w 12192003"/>
              <a:gd name="connsiteY14" fmla="*/ 6388364 h 6857987"/>
              <a:gd name="connsiteX15" fmla="*/ 1397358 w 12192003"/>
              <a:gd name="connsiteY15" fmla="*/ 6391147 h 6857987"/>
              <a:gd name="connsiteX16" fmla="*/ 1387749 w 12192003"/>
              <a:gd name="connsiteY16" fmla="*/ 6388364 h 6857987"/>
              <a:gd name="connsiteX17" fmla="*/ 1384546 w 12192003"/>
              <a:gd name="connsiteY17" fmla="*/ 6380944 h 6857987"/>
              <a:gd name="connsiteX18" fmla="*/ 1385919 w 12192003"/>
              <a:gd name="connsiteY18" fmla="*/ 6375842 h 6857987"/>
              <a:gd name="connsiteX19" fmla="*/ 1390037 w 12192003"/>
              <a:gd name="connsiteY19" fmla="*/ 6372596 h 6857987"/>
              <a:gd name="connsiteX20" fmla="*/ 1399646 w 12192003"/>
              <a:gd name="connsiteY20" fmla="*/ 6370277 h 6857987"/>
              <a:gd name="connsiteX21" fmla="*/ 1417035 w 12192003"/>
              <a:gd name="connsiteY21" fmla="*/ 6366103 h 6857987"/>
              <a:gd name="connsiteX22" fmla="*/ 495160 w 12192003"/>
              <a:gd name="connsiteY22" fmla="*/ 6357304 h 6857987"/>
              <a:gd name="connsiteX23" fmla="*/ 515335 w 12192003"/>
              <a:gd name="connsiteY23" fmla="*/ 6357304 h 6857987"/>
              <a:gd name="connsiteX24" fmla="*/ 528173 w 12192003"/>
              <a:gd name="connsiteY24" fmla="*/ 6359150 h 6857987"/>
              <a:gd name="connsiteX25" fmla="*/ 535051 w 12192003"/>
              <a:gd name="connsiteY25" fmla="*/ 6364226 h 6857987"/>
              <a:gd name="connsiteX26" fmla="*/ 537802 w 12192003"/>
              <a:gd name="connsiteY26" fmla="*/ 6372533 h 6857987"/>
              <a:gd name="connsiteX27" fmla="*/ 535968 w 12192003"/>
              <a:gd name="connsiteY27" fmla="*/ 6379917 h 6857987"/>
              <a:gd name="connsiteX28" fmla="*/ 531383 w 12192003"/>
              <a:gd name="connsiteY28" fmla="*/ 6384993 h 6857987"/>
              <a:gd name="connsiteX29" fmla="*/ 524964 w 12192003"/>
              <a:gd name="connsiteY29" fmla="*/ 6387301 h 6857987"/>
              <a:gd name="connsiteX30" fmla="*/ 517169 w 12192003"/>
              <a:gd name="connsiteY30" fmla="*/ 6387762 h 6857987"/>
              <a:gd name="connsiteX31" fmla="*/ 495160 w 12192003"/>
              <a:gd name="connsiteY31" fmla="*/ 6387762 h 6857987"/>
              <a:gd name="connsiteX32" fmla="*/ 495160 w 12192003"/>
              <a:gd name="connsiteY32" fmla="*/ 6357304 h 6857987"/>
              <a:gd name="connsiteX33" fmla="*/ 1903244 w 12192003"/>
              <a:gd name="connsiteY33" fmla="*/ 6341737 h 6857987"/>
              <a:gd name="connsiteX34" fmla="*/ 1916500 w 12192003"/>
              <a:gd name="connsiteY34" fmla="*/ 6347828 h 6857987"/>
              <a:gd name="connsiteX35" fmla="*/ 1920614 w 12192003"/>
              <a:gd name="connsiteY35" fmla="*/ 6360012 h 6857987"/>
              <a:gd name="connsiteX36" fmla="*/ 1885417 w 12192003"/>
              <a:gd name="connsiteY36" fmla="*/ 6360012 h 6857987"/>
              <a:gd name="connsiteX37" fmla="*/ 1890902 w 12192003"/>
              <a:gd name="connsiteY37" fmla="*/ 6346422 h 6857987"/>
              <a:gd name="connsiteX38" fmla="*/ 1903244 w 12192003"/>
              <a:gd name="connsiteY38" fmla="*/ 6341737 h 6857987"/>
              <a:gd name="connsiteX39" fmla="*/ 1002862 w 12192003"/>
              <a:gd name="connsiteY39" fmla="*/ 6341737 h 6857987"/>
              <a:gd name="connsiteX40" fmla="*/ 1016246 w 12192003"/>
              <a:gd name="connsiteY40" fmla="*/ 6347828 h 6857987"/>
              <a:gd name="connsiteX41" fmla="*/ 1020399 w 12192003"/>
              <a:gd name="connsiteY41" fmla="*/ 6360012 h 6857987"/>
              <a:gd name="connsiteX42" fmla="*/ 984864 w 12192003"/>
              <a:gd name="connsiteY42" fmla="*/ 6360012 h 6857987"/>
              <a:gd name="connsiteX43" fmla="*/ 990402 w 12192003"/>
              <a:gd name="connsiteY43" fmla="*/ 6346422 h 6857987"/>
              <a:gd name="connsiteX44" fmla="*/ 1002862 w 12192003"/>
              <a:gd name="connsiteY44" fmla="*/ 6341737 h 6857987"/>
              <a:gd name="connsiteX45" fmla="*/ 813510 w 12192003"/>
              <a:gd name="connsiteY45" fmla="*/ 6341737 h 6857987"/>
              <a:gd name="connsiteX46" fmla="*/ 826766 w 12192003"/>
              <a:gd name="connsiteY46" fmla="*/ 6347829 h 6857987"/>
              <a:gd name="connsiteX47" fmla="*/ 830880 w 12192003"/>
              <a:gd name="connsiteY47" fmla="*/ 6360012 h 6857987"/>
              <a:gd name="connsiteX48" fmla="*/ 795684 w 12192003"/>
              <a:gd name="connsiteY48" fmla="*/ 6360012 h 6857987"/>
              <a:gd name="connsiteX49" fmla="*/ 801169 w 12192003"/>
              <a:gd name="connsiteY49" fmla="*/ 6346422 h 6857987"/>
              <a:gd name="connsiteX50" fmla="*/ 813510 w 12192003"/>
              <a:gd name="connsiteY50" fmla="*/ 6341737 h 6857987"/>
              <a:gd name="connsiteX51" fmla="*/ 1165187 w 12192003"/>
              <a:gd name="connsiteY51" fmla="*/ 6341736 h 6857987"/>
              <a:gd name="connsiteX52" fmla="*/ 1178394 w 12192003"/>
              <a:gd name="connsiteY52" fmla="*/ 6347812 h 6857987"/>
              <a:gd name="connsiteX53" fmla="*/ 1183859 w 12192003"/>
              <a:gd name="connsiteY53" fmla="*/ 6366039 h 6857987"/>
              <a:gd name="connsiteX54" fmla="*/ 1178394 w 12192003"/>
              <a:gd name="connsiteY54" fmla="*/ 6384733 h 6857987"/>
              <a:gd name="connsiteX55" fmla="*/ 1165187 w 12192003"/>
              <a:gd name="connsiteY55" fmla="*/ 6390809 h 6857987"/>
              <a:gd name="connsiteX56" fmla="*/ 1151980 w 12192003"/>
              <a:gd name="connsiteY56" fmla="*/ 6384733 h 6857987"/>
              <a:gd name="connsiteX57" fmla="*/ 1146970 w 12192003"/>
              <a:gd name="connsiteY57" fmla="*/ 6366039 h 6857987"/>
              <a:gd name="connsiteX58" fmla="*/ 1151980 w 12192003"/>
              <a:gd name="connsiteY58" fmla="*/ 6347812 h 6857987"/>
              <a:gd name="connsiteX59" fmla="*/ 1165187 w 12192003"/>
              <a:gd name="connsiteY59" fmla="*/ 6341736 h 6857987"/>
              <a:gd name="connsiteX60" fmla="*/ 692803 w 12192003"/>
              <a:gd name="connsiteY60" fmla="*/ 6333954 h 6857987"/>
              <a:gd name="connsiteX61" fmla="*/ 692803 w 12192003"/>
              <a:gd name="connsiteY61" fmla="*/ 6398254 h 6857987"/>
              <a:gd name="connsiteX62" fmla="*/ 703294 w 12192003"/>
              <a:gd name="connsiteY62" fmla="*/ 6398254 h 6857987"/>
              <a:gd name="connsiteX63" fmla="*/ 703294 w 12192003"/>
              <a:gd name="connsiteY63" fmla="*/ 6333954 h 6857987"/>
              <a:gd name="connsiteX64" fmla="*/ 563862 w 12192003"/>
              <a:gd name="connsiteY64" fmla="*/ 6333954 h 6857987"/>
              <a:gd name="connsiteX65" fmla="*/ 563862 w 12192003"/>
              <a:gd name="connsiteY65" fmla="*/ 6373998 h 6857987"/>
              <a:gd name="connsiteX66" fmla="*/ 564322 w 12192003"/>
              <a:gd name="connsiteY66" fmla="*/ 6384242 h 6857987"/>
              <a:gd name="connsiteX67" fmla="*/ 567996 w 12192003"/>
              <a:gd name="connsiteY67" fmla="*/ 6392158 h 6857987"/>
              <a:gd name="connsiteX68" fmla="*/ 574885 w 12192003"/>
              <a:gd name="connsiteY68" fmla="*/ 6397746 h 6857987"/>
              <a:gd name="connsiteX69" fmla="*/ 585449 w 12192003"/>
              <a:gd name="connsiteY69" fmla="*/ 6399608 h 6857987"/>
              <a:gd name="connsiteX70" fmla="*/ 605658 w 12192003"/>
              <a:gd name="connsiteY70" fmla="*/ 6388898 h 6857987"/>
              <a:gd name="connsiteX71" fmla="*/ 605658 w 12192003"/>
              <a:gd name="connsiteY71" fmla="*/ 6398211 h 6857987"/>
              <a:gd name="connsiteX72" fmla="*/ 615303 w 12192003"/>
              <a:gd name="connsiteY72" fmla="*/ 6398211 h 6857987"/>
              <a:gd name="connsiteX73" fmla="*/ 615303 w 12192003"/>
              <a:gd name="connsiteY73" fmla="*/ 6333954 h 6857987"/>
              <a:gd name="connsiteX74" fmla="*/ 604280 w 12192003"/>
              <a:gd name="connsiteY74" fmla="*/ 6333954 h 6857987"/>
              <a:gd name="connsiteX75" fmla="*/ 604280 w 12192003"/>
              <a:gd name="connsiteY75" fmla="*/ 6368410 h 6857987"/>
              <a:gd name="connsiteX76" fmla="*/ 602443 w 12192003"/>
              <a:gd name="connsiteY76" fmla="*/ 6380983 h 6857987"/>
              <a:gd name="connsiteX77" fmla="*/ 596472 w 12192003"/>
              <a:gd name="connsiteY77" fmla="*/ 6387967 h 6857987"/>
              <a:gd name="connsiteX78" fmla="*/ 587746 w 12192003"/>
              <a:gd name="connsiteY78" fmla="*/ 6390295 h 6857987"/>
              <a:gd name="connsiteX79" fmla="*/ 579478 w 12192003"/>
              <a:gd name="connsiteY79" fmla="*/ 6387967 h 6857987"/>
              <a:gd name="connsiteX80" fmla="*/ 575344 w 12192003"/>
              <a:gd name="connsiteY80" fmla="*/ 6380983 h 6857987"/>
              <a:gd name="connsiteX81" fmla="*/ 574426 w 12192003"/>
              <a:gd name="connsiteY81" fmla="*/ 6369807 h 6857987"/>
              <a:gd name="connsiteX82" fmla="*/ 574426 w 12192003"/>
              <a:gd name="connsiteY82" fmla="*/ 6333954 h 6857987"/>
              <a:gd name="connsiteX83" fmla="*/ 563862 w 12192003"/>
              <a:gd name="connsiteY83" fmla="*/ 6333954 h 6857987"/>
              <a:gd name="connsiteX84" fmla="*/ 2107217 w 12192003"/>
              <a:gd name="connsiteY84" fmla="*/ 6332600 h 6857987"/>
              <a:gd name="connsiteX85" fmla="*/ 2093009 w 12192003"/>
              <a:gd name="connsiteY85" fmla="*/ 6334927 h 6857987"/>
              <a:gd name="connsiteX86" fmla="*/ 2083383 w 12192003"/>
              <a:gd name="connsiteY86" fmla="*/ 6341441 h 6857987"/>
              <a:gd name="connsiteX87" fmla="*/ 2078800 w 12192003"/>
              <a:gd name="connsiteY87" fmla="*/ 6352609 h 6857987"/>
              <a:gd name="connsiteX88" fmla="*/ 2089342 w 12192003"/>
              <a:gd name="connsiteY88" fmla="*/ 6354005 h 6857987"/>
              <a:gd name="connsiteX89" fmla="*/ 2094842 w 12192003"/>
              <a:gd name="connsiteY89" fmla="*/ 6344233 h 6857987"/>
              <a:gd name="connsiteX90" fmla="*/ 2105842 w 12192003"/>
              <a:gd name="connsiteY90" fmla="*/ 6341907 h 6857987"/>
              <a:gd name="connsiteX91" fmla="*/ 2117759 w 12192003"/>
              <a:gd name="connsiteY91" fmla="*/ 6345629 h 6857987"/>
              <a:gd name="connsiteX92" fmla="*/ 2120968 w 12192003"/>
              <a:gd name="connsiteY92" fmla="*/ 6354936 h 6857987"/>
              <a:gd name="connsiteX93" fmla="*/ 2120968 w 12192003"/>
              <a:gd name="connsiteY93" fmla="*/ 6357728 h 6857987"/>
              <a:gd name="connsiteX94" fmla="*/ 2101717 w 12192003"/>
              <a:gd name="connsiteY94" fmla="*/ 6361451 h 6857987"/>
              <a:gd name="connsiteX95" fmla="*/ 2092550 w 12192003"/>
              <a:gd name="connsiteY95" fmla="*/ 6362847 h 6857987"/>
              <a:gd name="connsiteX96" fmla="*/ 2084758 w 12192003"/>
              <a:gd name="connsiteY96" fmla="*/ 6366569 h 6857987"/>
              <a:gd name="connsiteX97" fmla="*/ 2079258 w 12192003"/>
              <a:gd name="connsiteY97" fmla="*/ 6372619 h 6857987"/>
              <a:gd name="connsiteX98" fmla="*/ 2076967 w 12192003"/>
              <a:gd name="connsiteY98" fmla="*/ 6381460 h 6857987"/>
              <a:gd name="connsiteX99" fmla="*/ 2082467 w 12192003"/>
              <a:gd name="connsiteY99" fmla="*/ 6394489 h 6857987"/>
              <a:gd name="connsiteX100" fmla="*/ 2098509 w 12192003"/>
              <a:gd name="connsiteY100" fmla="*/ 6399608 h 6857987"/>
              <a:gd name="connsiteX101" fmla="*/ 2110426 w 12192003"/>
              <a:gd name="connsiteY101" fmla="*/ 6397747 h 6857987"/>
              <a:gd name="connsiteX102" fmla="*/ 2121884 w 12192003"/>
              <a:gd name="connsiteY102" fmla="*/ 6390301 h 6857987"/>
              <a:gd name="connsiteX103" fmla="*/ 2124176 w 12192003"/>
              <a:gd name="connsiteY103" fmla="*/ 6398212 h 6857987"/>
              <a:gd name="connsiteX104" fmla="*/ 2135176 w 12192003"/>
              <a:gd name="connsiteY104" fmla="*/ 6398212 h 6857987"/>
              <a:gd name="connsiteX105" fmla="*/ 2132426 w 12192003"/>
              <a:gd name="connsiteY105" fmla="*/ 6390767 h 6857987"/>
              <a:gd name="connsiteX106" fmla="*/ 2131968 w 12192003"/>
              <a:gd name="connsiteY106" fmla="*/ 6371222 h 6857987"/>
              <a:gd name="connsiteX107" fmla="*/ 2131968 w 12192003"/>
              <a:gd name="connsiteY107" fmla="*/ 6356797 h 6857987"/>
              <a:gd name="connsiteX108" fmla="*/ 2131051 w 12192003"/>
              <a:gd name="connsiteY108" fmla="*/ 6347025 h 6857987"/>
              <a:gd name="connsiteX109" fmla="*/ 2127843 w 12192003"/>
              <a:gd name="connsiteY109" fmla="*/ 6339580 h 6857987"/>
              <a:gd name="connsiteX110" fmla="*/ 2120509 w 12192003"/>
              <a:gd name="connsiteY110" fmla="*/ 6334461 h 6857987"/>
              <a:gd name="connsiteX111" fmla="*/ 2107217 w 12192003"/>
              <a:gd name="connsiteY111" fmla="*/ 6332600 h 6857987"/>
              <a:gd name="connsiteX112" fmla="*/ 1903245 w 12192003"/>
              <a:gd name="connsiteY112" fmla="*/ 6332600 h 6857987"/>
              <a:gd name="connsiteX113" fmla="*/ 1882161 w 12192003"/>
              <a:gd name="connsiteY113" fmla="*/ 6341907 h 6857987"/>
              <a:gd name="connsiteX114" fmla="*/ 1873911 w 12192003"/>
              <a:gd name="connsiteY114" fmla="*/ 6366569 h 6857987"/>
              <a:gd name="connsiteX115" fmla="*/ 1882161 w 12192003"/>
              <a:gd name="connsiteY115" fmla="*/ 6391232 h 6857987"/>
              <a:gd name="connsiteX116" fmla="*/ 1904161 w 12192003"/>
              <a:gd name="connsiteY116" fmla="*/ 6399608 h 6857987"/>
              <a:gd name="connsiteX117" fmla="*/ 1922037 w 12192003"/>
              <a:gd name="connsiteY117" fmla="*/ 6394489 h 6857987"/>
              <a:gd name="connsiteX118" fmla="*/ 1931662 w 12192003"/>
              <a:gd name="connsiteY118" fmla="*/ 6379133 h 6857987"/>
              <a:gd name="connsiteX119" fmla="*/ 1920661 w 12192003"/>
              <a:gd name="connsiteY119" fmla="*/ 6377737 h 6857987"/>
              <a:gd name="connsiteX120" fmla="*/ 1914245 w 12192003"/>
              <a:gd name="connsiteY120" fmla="*/ 6387509 h 6857987"/>
              <a:gd name="connsiteX121" fmla="*/ 1904161 w 12192003"/>
              <a:gd name="connsiteY121" fmla="*/ 6390767 h 6857987"/>
              <a:gd name="connsiteX122" fmla="*/ 1890869 w 12192003"/>
              <a:gd name="connsiteY122" fmla="*/ 6385183 h 6857987"/>
              <a:gd name="connsiteX123" fmla="*/ 1884911 w 12192003"/>
              <a:gd name="connsiteY123" fmla="*/ 6368896 h 6857987"/>
              <a:gd name="connsiteX124" fmla="*/ 1932120 w 12192003"/>
              <a:gd name="connsiteY124" fmla="*/ 6368896 h 6857987"/>
              <a:gd name="connsiteX125" fmla="*/ 1932120 w 12192003"/>
              <a:gd name="connsiteY125" fmla="*/ 6366104 h 6857987"/>
              <a:gd name="connsiteX126" fmla="*/ 1924328 w 12192003"/>
              <a:gd name="connsiteY126" fmla="*/ 6341441 h 6857987"/>
              <a:gd name="connsiteX127" fmla="*/ 1903245 w 12192003"/>
              <a:gd name="connsiteY127" fmla="*/ 6332600 h 6857987"/>
              <a:gd name="connsiteX128" fmla="*/ 1403290 w 12192003"/>
              <a:gd name="connsiteY128" fmla="*/ 6332600 h 6857987"/>
              <a:gd name="connsiteX129" fmla="*/ 1389081 w 12192003"/>
              <a:gd name="connsiteY129" fmla="*/ 6334927 h 6857987"/>
              <a:gd name="connsiteX130" fmla="*/ 1379456 w 12192003"/>
              <a:gd name="connsiteY130" fmla="*/ 6341441 h 6857987"/>
              <a:gd name="connsiteX131" fmla="*/ 1374873 w 12192003"/>
              <a:gd name="connsiteY131" fmla="*/ 6352609 h 6857987"/>
              <a:gd name="connsiteX132" fmla="*/ 1385414 w 12192003"/>
              <a:gd name="connsiteY132" fmla="*/ 6354005 h 6857987"/>
              <a:gd name="connsiteX133" fmla="*/ 1390456 w 12192003"/>
              <a:gd name="connsiteY133" fmla="*/ 6344233 h 6857987"/>
              <a:gd name="connsiteX134" fmla="*/ 1401915 w 12192003"/>
              <a:gd name="connsiteY134" fmla="*/ 6341907 h 6857987"/>
              <a:gd name="connsiteX135" fmla="*/ 1413832 w 12192003"/>
              <a:gd name="connsiteY135" fmla="*/ 6345629 h 6857987"/>
              <a:gd name="connsiteX136" fmla="*/ 1417040 w 12192003"/>
              <a:gd name="connsiteY136" fmla="*/ 6354936 h 6857987"/>
              <a:gd name="connsiteX137" fmla="*/ 1417040 w 12192003"/>
              <a:gd name="connsiteY137" fmla="*/ 6357728 h 6857987"/>
              <a:gd name="connsiteX138" fmla="*/ 1397790 w 12192003"/>
              <a:gd name="connsiteY138" fmla="*/ 6361451 h 6857987"/>
              <a:gd name="connsiteX139" fmla="*/ 1388165 w 12192003"/>
              <a:gd name="connsiteY139" fmla="*/ 6362847 h 6857987"/>
              <a:gd name="connsiteX140" fmla="*/ 1380831 w 12192003"/>
              <a:gd name="connsiteY140" fmla="*/ 6366569 h 6857987"/>
              <a:gd name="connsiteX141" fmla="*/ 1374873 w 12192003"/>
              <a:gd name="connsiteY141" fmla="*/ 6372619 h 6857987"/>
              <a:gd name="connsiteX142" fmla="*/ 1373039 w 12192003"/>
              <a:gd name="connsiteY142" fmla="*/ 6381460 h 6857987"/>
              <a:gd name="connsiteX143" fmla="*/ 1378539 w 12192003"/>
              <a:gd name="connsiteY143" fmla="*/ 6394489 h 6857987"/>
              <a:gd name="connsiteX144" fmla="*/ 1394581 w 12192003"/>
              <a:gd name="connsiteY144" fmla="*/ 6399608 h 6857987"/>
              <a:gd name="connsiteX145" fmla="*/ 1406498 w 12192003"/>
              <a:gd name="connsiteY145" fmla="*/ 6397747 h 6857987"/>
              <a:gd name="connsiteX146" fmla="*/ 1417957 w 12192003"/>
              <a:gd name="connsiteY146" fmla="*/ 6390301 h 6857987"/>
              <a:gd name="connsiteX147" fmla="*/ 1419790 w 12192003"/>
              <a:gd name="connsiteY147" fmla="*/ 6398212 h 6857987"/>
              <a:gd name="connsiteX148" fmla="*/ 1431249 w 12192003"/>
              <a:gd name="connsiteY148" fmla="*/ 6398212 h 6857987"/>
              <a:gd name="connsiteX149" fmla="*/ 1428499 w 12192003"/>
              <a:gd name="connsiteY149" fmla="*/ 6390767 h 6857987"/>
              <a:gd name="connsiteX150" fmla="*/ 1427582 w 12192003"/>
              <a:gd name="connsiteY150" fmla="*/ 6371222 h 6857987"/>
              <a:gd name="connsiteX151" fmla="*/ 1427582 w 12192003"/>
              <a:gd name="connsiteY151" fmla="*/ 6356797 h 6857987"/>
              <a:gd name="connsiteX152" fmla="*/ 1427123 w 12192003"/>
              <a:gd name="connsiteY152" fmla="*/ 6347025 h 6857987"/>
              <a:gd name="connsiteX153" fmla="*/ 1423915 w 12192003"/>
              <a:gd name="connsiteY153" fmla="*/ 6339580 h 6857987"/>
              <a:gd name="connsiteX154" fmla="*/ 1416582 w 12192003"/>
              <a:gd name="connsiteY154" fmla="*/ 6334461 h 6857987"/>
              <a:gd name="connsiteX155" fmla="*/ 1403290 w 12192003"/>
              <a:gd name="connsiteY155" fmla="*/ 6332600 h 6857987"/>
              <a:gd name="connsiteX156" fmla="*/ 1165186 w 12192003"/>
              <a:gd name="connsiteY156" fmla="*/ 6332600 h 6857987"/>
              <a:gd name="connsiteX157" fmla="*/ 1145444 w 12192003"/>
              <a:gd name="connsiteY157" fmla="*/ 6340045 h 6857987"/>
              <a:gd name="connsiteX158" fmla="*/ 1135803 w 12192003"/>
              <a:gd name="connsiteY158" fmla="*/ 6366104 h 6857987"/>
              <a:gd name="connsiteX159" fmla="*/ 1143608 w 12192003"/>
              <a:gd name="connsiteY159" fmla="*/ 6391232 h 6857987"/>
              <a:gd name="connsiteX160" fmla="*/ 1165186 w 12192003"/>
              <a:gd name="connsiteY160" fmla="*/ 6399608 h 6857987"/>
              <a:gd name="connsiteX161" fmla="*/ 1180337 w 12192003"/>
              <a:gd name="connsiteY161" fmla="*/ 6395886 h 6857987"/>
              <a:gd name="connsiteX162" fmla="*/ 1191355 w 12192003"/>
              <a:gd name="connsiteY162" fmla="*/ 6384718 h 6857987"/>
              <a:gd name="connsiteX163" fmla="*/ 1195027 w 12192003"/>
              <a:gd name="connsiteY163" fmla="*/ 6365173 h 6857987"/>
              <a:gd name="connsiteX164" fmla="*/ 1186764 w 12192003"/>
              <a:gd name="connsiteY164" fmla="*/ 6341441 h 6857987"/>
              <a:gd name="connsiteX165" fmla="*/ 1165186 w 12192003"/>
              <a:gd name="connsiteY165" fmla="*/ 6332600 h 6857987"/>
              <a:gd name="connsiteX166" fmla="*/ 1003368 w 12192003"/>
              <a:gd name="connsiteY166" fmla="*/ 6332600 h 6857987"/>
              <a:gd name="connsiteX167" fmla="*/ 982285 w 12192003"/>
              <a:gd name="connsiteY167" fmla="*/ 6341907 h 6857987"/>
              <a:gd name="connsiteX168" fmla="*/ 974035 w 12192003"/>
              <a:gd name="connsiteY168" fmla="*/ 6366569 h 6857987"/>
              <a:gd name="connsiteX169" fmla="*/ 981826 w 12192003"/>
              <a:gd name="connsiteY169" fmla="*/ 6391232 h 6857987"/>
              <a:gd name="connsiteX170" fmla="*/ 1003827 w 12192003"/>
              <a:gd name="connsiteY170" fmla="*/ 6399608 h 6857987"/>
              <a:gd name="connsiteX171" fmla="*/ 1022161 w 12192003"/>
              <a:gd name="connsiteY171" fmla="*/ 6394489 h 6857987"/>
              <a:gd name="connsiteX172" fmla="*/ 1031786 w 12192003"/>
              <a:gd name="connsiteY172" fmla="*/ 6379133 h 6857987"/>
              <a:gd name="connsiteX173" fmla="*/ 1020786 w 12192003"/>
              <a:gd name="connsiteY173" fmla="*/ 6377737 h 6857987"/>
              <a:gd name="connsiteX174" fmla="*/ 1013910 w 12192003"/>
              <a:gd name="connsiteY174" fmla="*/ 6387509 h 6857987"/>
              <a:gd name="connsiteX175" fmla="*/ 1003827 w 12192003"/>
              <a:gd name="connsiteY175" fmla="*/ 6390767 h 6857987"/>
              <a:gd name="connsiteX176" fmla="*/ 990993 w 12192003"/>
              <a:gd name="connsiteY176" fmla="*/ 6385183 h 6857987"/>
              <a:gd name="connsiteX177" fmla="*/ 985035 w 12192003"/>
              <a:gd name="connsiteY177" fmla="*/ 6368896 h 6857987"/>
              <a:gd name="connsiteX178" fmla="*/ 1031786 w 12192003"/>
              <a:gd name="connsiteY178" fmla="*/ 6368896 h 6857987"/>
              <a:gd name="connsiteX179" fmla="*/ 1032244 w 12192003"/>
              <a:gd name="connsiteY179" fmla="*/ 6366104 h 6857987"/>
              <a:gd name="connsiteX180" fmla="*/ 1023994 w 12192003"/>
              <a:gd name="connsiteY180" fmla="*/ 6341441 h 6857987"/>
              <a:gd name="connsiteX181" fmla="*/ 1003368 w 12192003"/>
              <a:gd name="connsiteY181" fmla="*/ 6332600 h 6857987"/>
              <a:gd name="connsiteX182" fmla="*/ 936790 w 12192003"/>
              <a:gd name="connsiteY182" fmla="*/ 6332600 h 6857987"/>
              <a:gd name="connsiteX183" fmla="*/ 927647 w 12192003"/>
              <a:gd name="connsiteY183" fmla="*/ 6333996 h 6857987"/>
              <a:gd name="connsiteX184" fmla="*/ 920789 w 12192003"/>
              <a:gd name="connsiteY184" fmla="*/ 6337253 h 6857987"/>
              <a:gd name="connsiteX185" fmla="*/ 915760 w 12192003"/>
              <a:gd name="connsiteY185" fmla="*/ 6343302 h 6857987"/>
              <a:gd name="connsiteX186" fmla="*/ 913932 w 12192003"/>
              <a:gd name="connsiteY186" fmla="*/ 6351213 h 6857987"/>
              <a:gd name="connsiteX187" fmla="*/ 916217 w 12192003"/>
              <a:gd name="connsiteY187" fmla="*/ 6359589 h 6857987"/>
              <a:gd name="connsiteX188" fmla="*/ 923075 w 12192003"/>
              <a:gd name="connsiteY188" fmla="*/ 6366104 h 6857987"/>
              <a:gd name="connsiteX189" fmla="*/ 939533 w 12192003"/>
              <a:gd name="connsiteY189" fmla="*/ 6371222 h 6857987"/>
              <a:gd name="connsiteX190" fmla="*/ 950048 w 12192003"/>
              <a:gd name="connsiteY190" fmla="*/ 6374945 h 6857987"/>
              <a:gd name="connsiteX191" fmla="*/ 953248 w 12192003"/>
              <a:gd name="connsiteY191" fmla="*/ 6380529 h 6857987"/>
              <a:gd name="connsiteX192" fmla="*/ 949591 w 12192003"/>
              <a:gd name="connsiteY192" fmla="*/ 6387975 h 6857987"/>
              <a:gd name="connsiteX193" fmla="*/ 939075 w 12192003"/>
              <a:gd name="connsiteY193" fmla="*/ 6390767 h 6857987"/>
              <a:gd name="connsiteX194" fmla="*/ 927647 w 12192003"/>
              <a:gd name="connsiteY194" fmla="*/ 6387509 h 6857987"/>
              <a:gd name="connsiteX195" fmla="*/ 922618 w 12192003"/>
              <a:gd name="connsiteY195" fmla="*/ 6377272 h 6857987"/>
              <a:gd name="connsiteX196" fmla="*/ 912103 w 12192003"/>
              <a:gd name="connsiteY196" fmla="*/ 6379133 h 6857987"/>
              <a:gd name="connsiteX197" fmla="*/ 920332 w 12192003"/>
              <a:gd name="connsiteY197" fmla="*/ 6394489 h 6857987"/>
              <a:gd name="connsiteX198" fmla="*/ 939075 w 12192003"/>
              <a:gd name="connsiteY198" fmla="*/ 6399608 h 6857987"/>
              <a:gd name="connsiteX199" fmla="*/ 952333 w 12192003"/>
              <a:gd name="connsiteY199" fmla="*/ 6397281 h 6857987"/>
              <a:gd name="connsiteX200" fmla="*/ 961020 w 12192003"/>
              <a:gd name="connsiteY200" fmla="*/ 6389836 h 6857987"/>
              <a:gd name="connsiteX201" fmla="*/ 964221 w 12192003"/>
              <a:gd name="connsiteY201" fmla="*/ 6379598 h 6857987"/>
              <a:gd name="connsiteX202" fmla="*/ 961934 w 12192003"/>
              <a:gd name="connsiteY202" fmla="*/ 6370292 h 6857987"/>
              <a:gd name="connsiteX203" fmla="*/ 954619 w 12192003"/>
              <a:gd name="connsiteY203" fmla="*/ 6364242 h 6857987"/>
              <a:gd name="connsiteX204" fmla="*/ 939075 w 12192003"/>
              <a:gd name="connsiteY204" fmla="*/ 6359589 h 6857987"/>
              <a:gd name="connsiteX205" fmla="*/ 929475 w 12192003"/>
              <a:gd name="connsiteY205" fmla="*/ 6356797 h 6857987"/>
              <a:gd name="connsiteX206" fmla="*/ 925361 w 12192003"/>
              <a:gd name="connsiteY206" fmla="*/ 6353539 h 6857987"/>
              <a:gd name="connsiteX207" fmla="*/ 923989 w 12192003"/>
              <a:gd name="connsiteY207" fmla="*/ 6349817 h 6857987"/>
              <a:gd name="connsiteX208" fmla="*/ 927189 w 12192003"/>
              <a:gd name="connsiteY208" fmla="*/ 6344233 h 6857987"/>
              <a:gd name="connsiteX209" fmla="*/ 937704 w 12192003"/>
              <a:gd name="connsiteY209" fmla="*/ 6341906 h 6857987"/>
              <a:gd name="connsiteX210" fmla="*/ 947305 w 12192003"/>
              <a:gd name="connsiteY210" fmla="*/ 6344233 h 6857987"/>
              <a:gd name="connsiteX211" fmla="*/ 951419 w 12192003"/>
              <a:gd name="connsiteY211" fmla="*/ 6352144 h 6857987"/>
              <a:gd name="connsiteX212" fmla="*/ 961934 w 12192003"/>
              <a:gd name="connsiteY212" fmla="*/ 6350748 h 6857987"/>
              <a:gd name="connsiteX213" fmla="*/ 958277 w 12192003"/>
              <a:gd name="connsiteY213" fmla="*/ 6340976 h 6857987"/>
              <a:gd name="connsiteX214" fmla="*/ 950048 w 12192003"/>
              <a:gd name="connsiteY214" fmla="*/ 6334926 h 6857987"/>
              <a:gd name="connsiteX215" fmla="*/ 936790 w 12192003"/>
              <a:gd name="connsiteY215" fmla="*/ 6332600 h 6857987"/>
              <a:gd name="connsiteX216" fmla="*/ 876330 w 12192003"/>
              <a:gd name="connsiteY216" fmla="*/ 6332600 h 6857987"/>
              <a:gd name="connsiteX217" fmla="*/ 867187 w 12192003"/>
              <a:gd name="connsiteY217" fmla="*/ 6333996 h 6857987"/>
              <a:gd name="connsiteX218" fmla="*/ 860329 w 12192003"/>
              <a:gd name="connsiteY218" fmla="*/ 6337253 h 6857987"/>
              <a:gd name="connsiteX219" fmla="*/ 854843 w 12192003"/>
              <a:gd name="connsiteY219" fmla="*/ 6343302 h 6857987"/>
              <a:gd name="connsiteX220" fmla="*/ 853015 w 12192003"/>
              <a:gd name="connsiteY220" fmla="*/ 6351213 h 6857987"/>
              <a:gd name="connsiteX221" fmla="*/ 855301 w 12192003"/>
              <a:gd name="connsiteY221" fmla="*/ 6359589 h 6857987"/>
              <a:gd name="connsiteX222" fmla="*/ 862158 w 12192003"/>
              <a:gd name="connsiteY222" fmla="*/ 6366104 h 6857987"/>
              <a:gd name="connsiteX223" fmla="*/ 878616 w 12192003"/>
              <a:gd name="connsiteY223" fmla="*/ 6371222 h 6857987"/>
              <a:gd name="connsiteX224" fmla="*/ 889589 w 12192003"/>
              <a:gd name="connsiteY224" fmla="*/ 6374945 h 6857987"/>
              <a:gd name="connsiteX225" fmla="*/ 892332 w 12192003"/>
              <a:gd name="connsiteY225" fmla="*/ 6380529 h 6857987"/>
              <a:gd name="connsiteX226" fmla="*/ 889132 w 12192003"/>
              <a:gd name="connsiteY226" fmla="*/ 6387975 h 6857987"/>
              <a:gd name="connsiteX227" fmla="*/ 878159 w 12192003"/>
              <a:gd name="connsiteY227" fmla="*/ 6390767 h 6857987"/>
              <a:gd name="connsiteX228" fmla="*/ 866730 w 12192003"/>
              <a:gd name="connsiteY228" fmla="*/ 6387509 h 6857987"/>
              <a:gd name="connsiteX229" fmla="*/ 861701 w 12192003"/>
              <a:gd name="connsiteY229" fmla="*/ 6377272 h 6857987"/>
              <a:gd name="connsiteX230" fmla="*/ 851186 w 12192003"/>
              <a:gd name="connsiteY230" fmla="*/ 6379133 h 6857987"/>
              <a:gd name="connsiteX231" fmla="*/ 859415 w 12192003"/>
              <a:gd name="connsiteY231" fmla="*/ 6394489 h 6857987"/>
              <a:gd name="connsiteX232" fmla="*/ 878159 w 12192003"/>
              <a:gd name="connsiteY232" fmla="*/ 6399608 h 6857987"/>
              <a:gd name="connsiteX233" fmla="*/ 891417 w 12192003"/>
              <a:gd name="connsiteY233" fmla="*/ 6397281 h 6857987"/>
              <a:gd name="connsiteX234" fmla="*/ 900561 w 12192003"/>
              <a:gd name="connsiteY234" fmla="*/ 6389836 h 6857987"/>
              <a:gd name="connsiteX235" fmla="*/ 903304 w 12192003"/>
              <a:gd name="connsiteY235" fmla="*/ 6379598 h 6857987"/>
              <a:gd name="connsiteX236" fmla="*/ 901018 w 12192003"/>
              <a:gd name="connsiteY236" fmla="*/ 6370292 h 6857987"/>
              <a:gd name="connsiteX237" fmla="*/ 894160 w 12192003"/>
              <a:gd name="connsiteY237" fmla="*/ 6364242 h 6857987"/>
              <a:gd name="connsiteX238" fmla="*/ 878159 w 12192003"/>
              <a:gd name="connsiteY238" fmla="*/ 6359589 h 6857987"/>
              <a:gd name="connsiteX239" fmla="*/ 868559 w 12192003"/>
              <a:gd name="connsiteY239" fmla="*/ 6356797 h 6857987"/>
              <a:gd name="connsiteX240" fmla="*/ 864444 w 12192003"/>
              <a:gd name="connsiteY240" fmla="*/ 6353540 h 6857987"/>
              <a:gd name="connsiteX241" fmla="*/ 863530 w 12192003"/>
              <a:gd name="connsiteY241" fmla="*/ 6349817 h 6857987"/>
              <a:gd name="connsiteX242" fmla="*/ 866273 w 12192003"/>
              <a:gd name="connsiteY242" fmla="*/ 6344233 h 6857987"/>
              <a:gd name="connsiteX243" fmla="*/ 876788 w 12192003"/>
              <a:gd name="connsiteY243" fmla="*/ 6341906 h 6857987"/>
              <a:gd name="connsiteX244" fmla="*/ 886388 w 12192003"/>
              <a:gd name="connsiteY244" fmla="*/ 6344233 h 6857987"/>
              <a:gd name="connsiteX245" fmla="*/ 890503 w 12192003"/>
              <a:gd name="connsiteY245" fmla="*/ 6352144 h 6857987"/>
              <a:gd name="connsiteX246" fmla="*/ 901018 w 12192003"/>
              <a:gd name="connsiteY246" fmla="*/ 6350748 h 6857987"/>
              <a:gd name="connsiteX247" fmla="*/ 897361 w 12192003"/>
              <a:gd name="connsiteY247" fmla="*/ 6340976 h 6857987"/>
              <a:gd name="connsiteX248" fmla="*/ 889132 w 12192003"/>
              <a:gd name="connsiteY248" fmla="*/ 6334926 h 6857987"/>
              <a:gd name="connsiteX249" fmla="*/ 876330 w 12192003"/>
              <a:gd name="connsiteY249" fmla="*/ 6332600 h 6857987"/>
              <a:gd name="connsiteX250" fmla="*/ 813512 w 12192003"/>
              <a:gd name="connsiteY250" fmla="*/ 6332600 h 6857987"/>
              <a:gd name="connsiteX251" fmla="*/ 792428 w 12192003"/>
              <a:gd name="connsiteY251" fmla="*/ 6341907 h 6857987"/>
              <a:gd name="connsiteX252" fmla="*/ 784178 w 12192003"/>
              <a:gd name="connsiteY252" fmla="*/ 6366569 h 6857987"/>
              <a:gd name="connsiteX253" fmla="*/ 792428 w 12192003"/>
              <a:gd name="connsiteY253" fmla="*/ 6391232 h 6857987"/>
              <a:gd name="connsiteX254" fmla="*/ 814428 w 12192003"/>
              <a:gd name="connsiteY254" fmla="*/ 6399608 h 6857987"/>
              <a:gd name="connsiteX255" fmla="*/ 832304 w 12192003"/>
              <a:gd name="connsiteY255" fmla="*/ 6394489 h 6857987"/>
              <a:gd name="connsiteX256" fmla="*/ 841929 w 12192003"/>
              <a:gd name="connsiteY256" fmla="*/ 6379133 h 6857987"/>
              <a:gd name="connsiteX257" fmla="*/ 830929 w 12192003"/>
              <a:gd name="connsiteY257" fmla="*/ 6377737 h 6857987"/>
              <a:gd name="connsiteX258" fmla="*/ 824512 w 12192003"/>
              <a:gd name="connsiteY258" fmla="*/ 6387509 h 6857987"/>
              <a:gd name="connsiteX259" fmla="*/ 814428 w 12192003"/>
              <a:gd name="connsiteY259" fmla="*/ 6390767 h 6857987"/>
              <a:gd name="connsiteX260" fmla="*/ 801137 w 12192003"/>
              <a:gd name="connsiteY260" fmla="*/ 6385183 h 6857987"/>
              <a:gd name="connsiteX261" fmla="*/ 795178 w 12192003"/>
              <a:gd name="connsiteY261" fmla="*/ 6368896 h 6857987"/>
              <a:gd name="connsiteX262" fmla="*/ 842387 w 12192003"/>
              <a:gd name="connsiteY262" fmla="*/ 6368896 h 6857987"/>
              <a:gd name="connsiteX263" fmla="*/ 842387 w 12192003"/>
              <a:gd name="connsiteY263" fmla="*/ 6366104 h 6857987"/>
              <a:gd name="connsiteX264" fmla="*/ 834137 w 12192003"/>
              <a:gd name="connsiteY264" fmla="*/ 6341441 h 6857987"/>
              <a:gd name="connsiteX265" fmla="*/ 813512 w 12192003"/>
              <a:gd name="connsiteY265" fmla="*/ 6332600 h 6857987"/>
              <a:gd name="connsiteX266" fmla="*/ 749731 w 12192003"/>
              <a:gd name="connsiteY266" fmla="*/ 6332600 h 6857987"/>
              <a:gd name="connsiteX267" fmla="*/ 729522 w 12192003"/>
              <a:gd name="connsiteY267" fmla="*/ 6343309 h 6857987"/>
              <a:gd name="connsiteX268" fmla="*/ 729522 w 12192003"/>
              <a:gd name="connsiteY268" fmla="*/ 6333997 h 6857987"/>
              <a:gd name="connsiteX269" fmla="*/ 719877 w 12192003"/>
              <a:gd name="connsiteY269" fmla="*/ 6333997 h 6857987"/>
              <a:gd name="connsiteX270" fmla="*/ 719877 w 12192003"/>
              <a:gd name="connsiteY270" fmla="*/ 6398254 h 6857987"/>
              <a:gd name="connsiteX271" fmla="*/ 730441 w 12192003"/>
              <a:gd name="connsiteY271" fmla="*/ 6398254 h 6857987"/>
              <a:gd name="connsiteX272" fmla="*/ 730441 w 12192003"/>
              <a:gd name="connsiteY272" fmla="*/ 6363332 h 6857987"/>
              <a:gd name="connsiteX273" fmla="*/ 735493 w 12192003"/>
              <a:gd name="connsiteY273" fmla="*/ 6346569 h 6857987"/>
              <a:gd name="connsiteX274" fmla="*/ 747434 w 12192003"/>
              <a:gd name="connsiteY274" fmla="*/ 6342378 h 6857987"/>
              <a:gd name="connsiteX275" fmla="*/ 754783 w 12192003"/>
              <a:gd name="connsiteY275" fmla="*/ 6344241 h 6857987"/>
              <a:gd name="connsiteX276" fmla="*/ 759376 w 12192003"/>
              <a:gd name="connsiteY276" fmla="*/ 6349363 h 6857987"/>
              <a:gd name="connsiteX277" fmla="*/ 760754 w 12192003"/>
              <a:gd name="connsiteY277" fmla="*/ 6359141 h 6857987"/>
              <a:gd name="connsiteX278" fmla="*/ 760754 w 12192003"/>
              <a:gd name="connsiteY278" fmla="*/ 6398254 h 6857987"/>
              <a:gd name="connsiteX279" fmla="*/ 771318 w 12192003"/>
              <a:gd name="connsiteY279" fmla="*/ 6398254 h 6857987"/>
              <a:gd name="connsiteX280" fmla="*/ 771318 w 12192003"/>
              <a:gd name="connsiteY280" fmla="*/ 6358675 h 6857987"/>
              <a:gd name="connsiteX281" fmla="*/ 770858 w 12192003"/>
              <a:gd name="connsiteY281" fmla="*/ 6348431 h 6857987"/>
              <a:gd name="connsiteX282" fmla="*/ 767184 w 12192003"/>
              <a:gd name="connsiteY282" fmla="*/ 6340516 h 6857987"/>
              <a:gd name="connsiteX283" fmla="*/ 760295 w 12192003"/>
              <a:gd name="connsiteY283" fmla="*/ 6334928 h 6857987"/>
              <a:gd name="connsiteX284" fmla="*/ 749731 w 12192003"/>
              <a:gd name="connsiteY284" fmla="*/ 6332600 h 6857987"/>
              <a:gd name="connsiteX285" fmla="*/ 652512 w 12192003"/>
              <a:gd name="connsiteY285" fmla="*/ 6332600 h 6857987"/>
              <a:gd name="connsiteX286" fmla="*/ 643369 w 12192003"/>
              <a:gd name="connsiteY286" fmla="*/ 6333996 h 6857987"/>
              <a:gd name="connsiteX287" fmla="*/ 636511 w 12192003"/>
              <a:gd name="connsiteY287" fmla="*/ 6337253 h 6857987"/>
              <a:gd name="connsiteX288" fmla="*/ 631482 w 12192003"/>
              <a:gd name="connsiteY288" fmla="*/ 6343302 h 6857987"/>
              <a:gd name="connsiteX289" fmla="*/ 629653 w 12192003"/>
              <a:gd name="connsiteY289" fmla="*/ 6351213 h 6857987"/>
              <a:gd name="connsiteX290" fmla="*/ 631939 w 12192003"/>
              <a:gd name="connsiteY290" fmla="*/ 6359589 h 6857987"/>
              <a:gd name="connsiteX291" fmla="*/ 638797 w 12192003"/>
              <a:gd name="connsiteY291" fmla="*/ 6366104 h 6857987"/>
              <a:gd name="connsiteX292" fmla="*/ 655255 w 12192003"/>
              <a:gd name="connsiteY292" fmla="*/ 6371222 h 6857987"/>
              <a:gd name="connsiteX293" fmla="*/ 665770 w 12192003"/>
              <a:gd name="connsiteY293" fmla="*/ 6374945 h 6857987"/>
              <a:gd name="connsiteX294" fmla="*/ 668970 w 12192003"/>
              <a:gd name="connsiteY294" fmla="*/ 6380529 h 6857987"/>
              <a:gd name="connsiteX295" fmla="*/ 665313 w 12192003"/>
              <a:gd name="connsiteY295" fmla="*/ 6387975 h 6857987"/>
              <a:gd name="connsiteX296" fmla="*/ 654798 w 12192003"/>
              <a:gd name="connsiteY296" fmla="*/ 6390767 h 6857987"/>
              <a:gd name="connsiteX297" fmla="*/ 643369 w 12192003"/>
              <a:gd name="connsiteY297" fmla="*/ 6387509 h 6857987"/>
              <a:gd name="connsiteX298" fmla="*/ 638340 w 12192003"/>
              <a:gd name="connsiteY298" fmla="*/ 6377272 h 6857987"/>
              <a:gd name="connsiteX299" fmla="*/ 627825 w 12192003"/>
              <a:gd name="connsiteY299" fmla="*/ 6379133 h 6857987"/>
              <a:gd name="connsiteX300" fmla="*/ 636054 w 12192003"/>
              <a:gd name="connsiteY300" fmla="*/ 6394489 h 6857987"/>
              <a:gd name="connsiteX301" fmla="*/ 654798 w 12192003"/>
              <a:gd name="connsiteY301" fmla="*/ 6399608 h 6857987"/>
              <a:gd name="connsiteX302" fmla="*/ 668056 w 12192003"/>
              <a:gd name="connsiteY302" fmla="*/ 6397281 h 6857987"/>
              <a:gd name="connsiteX303" fmla="*/ 676742 w 12192003"/>
              <a:gd name="connsiteY303" fmla="*/ 6389836 h 6857987"/>
              <a:gd name="connsiteX304" fmla="*/ 679942 w 12192003"/>
              <a:gd name="connsiteY304" fmla="*/ 6379598 h 6857987"/>
              <a:gd name="connsiteX305" fmla="*/ 677657 w 12192003"/>
              <a:gd name="connsiteY305" fmla="*/ 6370292 h 6857987"/>
              <a:gd name="connsiteX306" fmla="*/ 670342 w 12192003"/>
              <a:gd name="connsiteY306" fmla="*/ 6364242 h 6857987"/>
              <a:gd name="connsiteX307" fmla="*/ 654798 w 12192003"/>
              <a:gd name="connsiteY307" fmla="*/ 6359589 h 6857987"/>
              <a:gd name="connsiteX308" fmla="*/ 645197 w 12192003"/>
              <a:gd name="connsiteY308" fmla="*/ 6356797 h 6857987"/>
              <a:gd name="connsiteX309" fmla="*/ 641083 w 12192003"/>
              <a:gd name="connsiteY309" fmla="*/ 6353540 h 6857987"/>
              <a:gd name="connsiteX310" fmla="*/ 639711 w 12192003"/>
              <a:gd name="connsiteY310" fmla="*/ 6349817 h 6857987"/>
              <a:gd name="connsiteX311" fmla="*/ 642911 w 12192003"/>
              <a:gd name="connsiteY311" fmla="*/ 6344233 h 6857987"/>
              <a:gd name="connsiteX312" fmla="*/ 653426 w 12192003"/>
              <a:gd name="connsiteY312" fmla="*/ 6341906 h 6857987"/>
              <a:gd name="connsiteX313" fmla="*/ 663027 w 12192003"/>
              <a:gd name="connsiteY313" fmla="*/ 6344233 h 6857987"/>
              <a:gd name="connsiteX314" fmla="*/ 667142 w 12192003"/>
              <a:gd name="connsiteY314" fmla="*/ 6352144 h 6857987"/>
              <a:gd name="connsiteX315" fmla="*/ 677657 w 12192003"/>
              <a:gd name="connsiteY315" fmla="*/ 6350748 h 6857987"/>
              <a:gd name="connsiteX316" fmla="*/ 673999 w 12192003"/>
              <a:gd name="connsiteY316" fmla="*/ 6340976 h 6857987"/>
              <a:gd name="connsiteX317" fmla="*/ 665770 w 12192003"/>
              <a:gd name="connsiteY317" fmla="*/ 6334927 h 6857987"/>
              <a:gd name="connsiteX318" fmla="*/ 652512 w 12192003"/>
              <a:gd name="connsiteY318" fmla="*/ 6332600 h 6857987"/>
              <a:gd name="connsiteX319" fmla="*/ 2178229 w 12192003"/>
              <a:gd name="connsiteY319" fmla="*/ 6332599 h 6857987"/>
              <a:gd name="connsiteX320" fmla="*/ 2158020 w 12192003"/>
              <a:gd name="connsiteY320" fmla="*/ 6343309 h 6857987"/>
              <a:gd name="connsiteX321" fmla="*/ 2158020 w 12192003"/>
              <a:gd name="connsiteY321" fmla="*/ 6333996 h 6857987"/>
              <a:gd name="connsiteX322" fmla="*/ 2148375 w 12192003"/>
              <a:gd name="connsiteY322" fmla="*/ 6333996 h 6857987"/>
              <a:gd name="connsiteX323" fmla="*/ 2148375 w 12192003"/>
              <a:gd name="connsiteY323" fmla="*/ 6398254 h 6857987"/>
              <a:gd name="connsiteX324" fmla="*/ 2158939 w 12192003"/>
              <a:gd name="connsiteY324" fmla="*/ 6398254 h 6857987"/>
              <a:gd name="connsiteX325" fmla="*/ 2158939 w 12192003"/>
              <a:gd name="connsiteY325" fmla="*/ 6363331 h 6857987"/>
              <a:gd name="connsiteX326" fmla="*/ 2163991 w 12192003"/>
              <a:gd name="connsiteY326" fmla="*/ 6346568 h 6857987"/>
              <a:gd name="connsiteX327" fmla="*/ 2175932 w 12192003"/>
              <a:gd name="connsiteY327" fmla="*/ 6342378 h 6857987"/>
              <a:gd name="connsiteX328" fmla="*/ 2183281 w 12192003"/>
              <a:gd name="connsiteY328" fmla="*/ 6344240 h 6857987"/>
              <a:gd name="connsiteX329" fmla="*/ 2187874 w 12192003"/>
              <a:gd name="connsiteY329" fmla="*/ 6349362 h 6857987"/>
              <a:gd name="connsiteX330" fmla="*/ 2188793 w 12192003"/>
              <a:gd name="connsiteY330" fmla="*/ 6359141 h 6857987"/>
              <a:gd name="connsiteX331" fmla="*/ 2188793 w 12192003"/>
              <a:gd name="connsiteY331" fmla="*/ 6398254 h 6857987"/>
              <a:gd name="connsiteX332" fmla="*/ 2199816 w 12192003"/>
              <a:gd name="connsiteY332" fmla="*/ 6398254 h 6857987"/>
              <a:gd name="connsiteX333" fmla="*/ 2199816 w 12192003"/>
              <a:gd name="connsiteY333" fmla="*/ 6358675 h 6857987"/>
              <a:gd name="connsiteX334" fmla="*/ 2198897 w 12192003"/>
              <a:gd name="connsiteY334" fmla="*/ 6348431 h 6857987"/>
              <a:gd name="connsiteX335" fmla="*/ 2195682 w 12192003"/>
              <a:gd name="connsiteY335" fmla="*/ 6340515 h 6857987"/>
              <a:gd name="connsiteX336" fmla="*/ 2188333 w 12192003"/>
              <a:gd name="connsiteY336" fmla="*/ 6334927 h 6857987"/>
              <a:gd name="connsiteX337" fmla="*/ 2178229 w 12192003"/>
              <a:gd name="connsiteY337" fmla="*/ 6332599 h 6857987"/>
              <a:gd name="connsiteX338" fmla="*/ 2042520 w 12192003"/>
              <a:gd name="connsiteY338" fmla="*/ 6332599 h 6857987"/>
              <a:gd name="connsiteX339" fmla="*/ 2022311 w 12192003"/>
              <a:gd name="connsiteY339" fmla="*/ 6343309 h 6857987"/>
              <a:gd name="connsiteX340" fmla="*/ 2022311 w 12192003"/>
              <a:gd name="connsiteY340" fmla="*/ 6333996 h 6857987"/>
              <a:gd name="connsiteX341" fmla="*/ 2012666 w 12192003"/>
              <a:gd name="connsiteY341" fmla="*/ 6333996 h 6857987"/>
              <a:gd name="connsiteX342" fmla="*/ 2012666 w 12192003"/>
              <a:gd name="connsiteY342" fmla="*/ 6398254 h 6857987"/>
              <a:gd name="connsiteX343" fmla="*/ 2023689 w 12192003"/>
              <a:gd name="connsiteY343" fmla="*/ 6398254 h 6857987"/>
              <a:gd name="connsiteX344" fmla="*/ 2023689 w 12192003"/>
              <a:gd name="connsiteY344" fmla="*/ 6363331 h 6857987"/>
              <a:gd name="connsiteX345" fmla="*/ 2028741 w 12192003"/>
              <a:gd name="connsiteY345" fmla="*/ 6346568 h 6857987"/>
              <a:gd name="connsiteX346" fmla="*/ 2040223 w 12192003"/>
              <a:gd name="connsiteY346" fmla="*/ 6342378 h 6857987"/>
              <a:gd name="connsiteX347" fmla="*/ 2048031 w 12192003"/>
              <a:gd name="connsiteY347" fmla="*/ 6344240 h 6857987"/>
              <a:gd name="connsiteX348" fmla="*/ 2052165 w 12192003"/>
              <a:gd name="connsiteY348" fmla="*/ 6349362 h 6857987"/>
              <a:gd name="connsiteX349" fmla="*/ 2053543 w 12192003"/>
              <a:gd name="connsiteY349" fmla="*/ 6359141 h 6857987"/>
              <a:gd name="connsiteX350" fmla="*/ 2053543 w 12192003"/>
              <a:gd name="connsiteY350" fmla="*/ 6398254 h 6857987"/>
              <a:gd name="connsiteX351" fmla="*/ 2064106 w 12192003"/>
              <a:gd name="connsiteY351" fmla="*/ 6398254 h 6857987"/>
              <a:gd name="connsiteX352" fmla="*/ 2064106 w 12192003"/>
              <a:gd name="connsiteY352" fmla="*/ 6358675 h 6857987"/>
              <a:gd name="connsiteX353" fmla="*/ 2063647 w 12192003"/>
              <a:gd name="connsiteY353" fmla="*/ 6348431 h 6857987"/>
              <a:gd name="connsiteX354" fmla="*/ 2060432 w 12192003"/>
              <a:gd name="connsiteY354" fmla="*/ 6340515 h 6857987"/>
              <a:gd name="connsiteX355" fmla="*/ 2053083 w 12192003"/>
              <a:gd name="connsiteY355" fmla="*/ 6334927 h 6857987"/>
              <a:gd name="connsiteX356" fmla="*/ 2042520 w 12192003"/>
              <a:gd name="connsiteY356" fmla="*/ 6332599 h 6857987"/>
              <a:gd name="connsiteX357" fmla="*/ 1974714 w 12192003"/>
              <a:gd name="connsiteY357" fmla="*/ 6332599 h 6857987"/>
              <a:gd name="connsiteX358" fmla="*/ 1954964 w 12192003"/>
              <a:gd name="connsiteY358" fmla="*/ 6343309 h 6857987"/>
              <a:gd name="connsiteX359" fmla="*/ 1954964 w 12192003"/>
              <a:gd name="connsiteY359" fmla="*/ 6333996 h 6857987"/>
              <a:gd name="connsiteX360" fmla="*/ 1945319 w 12192003"/>
              <a:gd name="connsiteY360" fmla="*/ 6333996 h 6857987"/>
              <a:gd name="connsiteX361" fmla="*/ 1945319 w 12192003"/>
              <a:gd name="connsiteY361" fmla="*/ 6398254 h 6857987"/>
              <a:gd name="connsiteX362" fmla="*/ 1955883 w 12192003"/>
              <a:gd name="connsiteY362" fmla="*/ 6398254 h 6857987"/>
              <a:gd name="connsiteX363" fmla="*/ 1955883 w 12192003"/>
              <a:gd name="connsiteY363" fmla="*/ 6363331 h 6857987"/>
              <a:gd name="connsiteX364" fmla="*/ 1960935 w 12192003"/>
              <a:gd name="connsiteY364" fmla="*/ 6346568 h 6857987"/>
              <a:gd name="connsiteX365" fmla="*/ 1972876 w 12192003"/>
              <a:gd name="connsiteY365" fmla="*/ 6342378 h 6857987"/>
              <a:gd name="connsiteX366" fmla="*/ 1980225 w 12192003"/>
              <a:gd name="connsiteY366" fmla="*/ 6344240 h 6857987"/>
              <a:gd name="connsiteX367" fmla="*/ 1984359 w 12192003"/>
              <a:gd name="connsiteY367" fmla="*/ 6349362 h 6857987"/>
              <a:gd name="connsiteX368" fmla="*/ 1985737 w 12192003"/>
              <a:gd name="connsiteY368" fmla="*/ 6359141 h 6857987"/>
              <a:gd name="connsiteX369" fmla="*/ 1985737 w 12192003"/>
              <a:gd name="connsiteY369" fmla="*/ 6398254 h 6857987"/>
              <a:gd name="connsiteX370" fmla="*/ 1996760 w 12192003"/>
              <a:gd name="connsiteY370" fmla="*/ 6398254 h 6857987"/>
              <a:gd name="connsiteX371" fmla="*/ 1996760 w 12192003"/>
              <a:gd name="connsiteY371" fmla="*/ 6358675 h 6857987"/>
              <a:gd name="connsiteX372" fmla="*/ 1995841 w 12192003"/>
              <a:gd name="connsiteY372" fmla="*/ 6348431 h 6857987"/>
              <a:gd name="connsiteX373" fmla="*/ 1992626 w 12192003"/>
              <a:gd name="connsiteY373" fmla="*/ 6340515 h 6857987"/>
              <a:gd name="connsiteX374" fmla="*/ 1985277 w 12192003"/>
              <a:gd name="connsiteY374" fmla="*/ 6334927 h 6857987"/>
              <a:gd name="connsiteX375" fmla="*/ 1974714 w 12192003"/>
              <a:gd name="connsiteY375" fmla="*/ 6332599 h 6857987"/>
              <a:gd name="connsiteX376" fmla="*/ 1774269 w 12192003"/>
              <a:gd name="connsiteY376" fmla="*/ 6332599 h 6857987"/>
              <a:gd name="connsiteX377" fmla="*/ 1759099 w 12192003"/>
              <a:gd name="connsiteY377" fmla="*/ 6336787 h 6857987"/>
              <a:gd name="connsiteX378" fmla="*/ 1748986 w 12192003"/>
              <a:gd name="connsiteY378" fmla="*/ 6348421 h 6857987"/>
              <a:gd name="connsiteX379" fmla="*/ 1745309 w 12192003"/>
              <a:gd name="connsiteY379" fmla="*/ 6366569 h 6857987"/>
              <a:gd name="connsiteX380" fmla="*/ 1753123 w 12192003"/>
              <a:gd name="connsiteY380" fmla="*/ 6391232 h 6857987"/>
              <a:gd name="connsiteX381" fmla="*/ 1774269 w 12192003"/>
              <a:gd name="connsiteY381" fmla="*/ 6399608 h 6857987"/>
              <a:gd name="connsiteX382" fmla="*/ 1791738 w 12192003"/>
              <a:gd name="connsiteY382" fmla="*/ 6393558 h 6857987"/>
              <a:gd name="connsiteX383" fmla="*/ 1800472 w 12192003"/>
              <a:gd name="connsiteY383" fmla="*/ 6376341 h 6857987"/>
              <a:gd name="connsiteX384" fmla="*/ 1789899 w 12192003"/>
              <a:gd name="connsiteY384" fmla="*/ 6374945 h 6857987"/>
              <a:gd name="connsiteX385" fmla="*/ 1784843 w 12192003"/>
              <a:gd name="connsiteY385" fmla="*/ 6387044 h 6857987"/>
              <a:gd name="connsiteX386" fmla="*/ 1774269 w 12192003"/>
              <a:gd name="connsiteY386" fmla="*/ 6390766 h 6857987"/>
              <a:gd name="connsiteX387" fmla="*/ 1761398 w 12192003"/>
              <a:gd name="connsiteY387" fmla="*/ 6384717 h 6857987"/>
              <a:gd name="connsiteX388" fmla="*/ 1756341 w 12192003"/>
              <a:gd name="connsiteY388" fmla="*/ 6366104 h 6857987"/>
              <a:gd name="connsiteX389" fmla="*/ 1761398 w 12192003"/>
              <a:gd name="connsiteY389" fmla="*/ 6347490 h 6857987"/>
              <a:gd name="connsiteX390" fmla="*/ 1774729 w 12192003"/>
              <a:gd name="connsiteY390" fmla="*/ 6341906 h 6857987"/>
              <a:gd name="connsiteX391" fmla="*/ 1783923 w 12192003"/>
              <a:gd name="connsiteY391" fmla="*/ 6345163 h 6857987"/>
              <a:gd name="connsiteX392" fmla="*/ 1788980 w 12192003"/>
              <a:gd name="connsiteY392" fmla="*/ 6354470 h 6857987"/>
              <a:gd name="connsiteX393" fmla="*/ 1799553 w 12192003"/>
              <a:gd name="connsiteY393" fmla="*/ 6353074 h 6857987"/>
              <a:gd name="connsiteX394" fmla="*/ 1791278 w 12192003"/>
              <a:gd name="connsiteY394" fmla="*/ 6338183 h 6857987"/>
              <a:gd name="connsiteX395" fmla="*/ 1774269 w 12192003"/>
              <a:gd name="connsiteY395" fmla="*/ 6332599 h 6857987"/>
              <a:gd name="connsiteX396" fmla="*/ 1505506 w 12192003"/>
              <a:gd name="connsiteY396" fmla="*/ 6332599 h 6857987"/>
              <a:gd name="connsiteX397" fmla="*/ 1496304 w 12192003"/>
              <a:gd name="connsiteY397" fmla="*/ 6333995 h 6857987"/>
              <a:gd name="connsiteX398" fmla="*/ 1489402 w 12192003"/>
              <a:gd name="connsiteY398" fmla="*/ 6337253 h 6857987"/>
              <a:gd name="connsiteX399" fmla="*/ 1484340 w 12192003"/>
              <a:gd name="connsiteY399" fmla="*/ 6343302 h 6857987"/>
              <a:gd name="connsiteX400" fmla="*/ 1482040 w 12192003"/>
              <a:gd name="connsiteY400" fmla="*/ 6351213 h 6857987"/>
              <a:gd name="connsiteX401" fmla="*/ 1484800 w 12192003"/>
              <a:gd name="connsiteY401" fmla="*/ 6359589 h 6857987"/>
              <a:gd name="connsiteX402" fmla="*/ 1491702 w 12192003"/>
              <a:gd name="connsiteY402" fmla="*/ 6366104 h 6857987"/>
              <a:gd name="connsiteX403" fmla="*/ 1507807 w 12192003"/>
              <a:gd name="connsiteY403" fmla="*/ 6371222 h 6857987"/>
              <a:gd name="connsiteX404" fmla="*/ 1518851 w 12192003"/>
              <a:gd name="connsiteY404" fmla="*/ 6374945 h 6857987"/>
              <a:gd name="connsiteX405" fmla="*/ 1522072 w 12192003"/>
              <a:gd name="connsiteY405" fmla="*/ 6380529 h 6857987"/>
              <a:gd name="connsiteX406" fmla="*/ 1518391 w 12192003"/>
              <a:gd name="connsiteY406" fmla="*/ 6387975 h 6857987"/>
              <a:gd name="connsiteX407" fmla="*/ 1507347 w 12192003"/>
              <a:gd name="connsiteY407" fmla="*/ 6390766 h 6857987"/>
              <a:gd name="connsiteX408" fmla="*/ 1496304 w 12192003"/>
              <a:gd name="connsiteY408" fmla="*/ 6387509 h 6857987"/>
              <a:gd name="connsiteX409" fmla="*/ 1491242 w 12192003"/>
              <a:gd name="connsiteY409" fmla="*/ 6377272 h 6857987"/>
              <a:gd name="connsiteX410" fmla="*/ 1480659 w 12192003"/>
              <a:gd name="connsiteY410" fmla="*/ 6379133 h 6857987"/>
              <a:gd name="connsiteX411" fmla="*/ 1488941 w 12192003"/>
              <a:gd name="connsiteY411" fmla="*/ 6394489 h 6857987"/>
              <a:gd name="connsiteX412" fmla="*/ 1507347 w 12192003"/>
              <a:gd name="connsiteY412" fmla="*/ 6399608 h 6857987"/>
              <a:gd name="connsiteX413" fmla="*/ 1521152 w 12192003"/>
              <a:gd name="connsiteY413" fmla="*/ 6397281 h 6857987"/>
              <a:gd name="connsiteX414" fmla="*/ 1529894 w 12192003"/>
              <a:gd name="connsiteY414" fmla="*/ 6389836 h 6857987"/>
              <a:gd name="connsiteX415" fmla="*/ 1533115 w 12192003"/>
              <a:gd name="connsiteY415" fmla="*/ 6379598 h 6857987"/>
              <a:gd name="connsiteX416" fmla="*/ 1530354 w 12192003"/>
              <a:gd name="connsiteY416" fmla="*/ 6370292 h 6857987"/>
              <a:gd name="connsiteX417" fmla="*/ 1523452 w 12192003"/>
              <a:gd name="connsiteY417" fmla="*/ 6364242 h 6857987"/>
              <a:gd name="connsiteX418" fmla="*/ 1507347 w 12192003"/>
              <a:gd name="connsiteY418" fmla="*/ 6359589 h 6857987"/>
              <a:gd name="connsiteX419" fmla="*/ 1498144 w 12192003"/>
              <a:gd name="connsiteY419" fmla="*/ 6356797 h 6857987"/>
              <a:gd name="connsiteX420" fmla="*/ 1494003 w 12192003"/>
              <a:gd name="connsiteY420" fmla="*/ 6353539 h 6857987"/>
              <a:gd name="connsiteX421" fmla="*/ 1492623 w 12192003"/>
              <a:gd name="connsiteY421" fmla="*/ 6349817 h 6857987"/>
              <a:gd name="connsiteX422" fmla="*/ 1495844 w 12192003"/>
              <a:gd name="connsiteY422" fmla="*/ 6344233 h 6857987"/>
              <a:gd name="connsiteX423" fmla="*/ 1506427 w 12192003"/>
              <a:gd name="connsiteY423" fmla="*/ 6341906 h 6857987"/>
              <a:gd name="connsiteX424" fmla="*/ 1516090 w 12192003"/>
              <a:gd name="connsiteY424" fmla="*/ 6344233 h 6857987"/>
              <a:gd name="connsiteX425" fmla="*/ 1520231 w 12192003"/>
              <a:gd name="connsiteY425" fmla="*/ 6352144 h 6857987"/>
              <a:gd name="connsiteX426" fmla="*/ 1530814 w 12192003"/>
              <a:gd name="connsiteY426" fmla="*/ 6350748 h 6857987"/>
              <a:gd name="connsiteX427" fmla="*/ 1527133 w 12192003"/>
              <a:gd name="connsiteY427" fmla="*/ 6340976 h 6857987"/>
              <a:gd name="connsiteX428" fmla="*/ 1518851 w 12192003"/>
              <a:gd name="connsiteY428" fmla="*/ 6334926 h 6857987"/>
              <a:gd name="connsiteX429" fmla="*/ 1505506 w 12192003"/>
              <a:gd name="connsiteY429" fmla="*/ 6332599 h 6857987"/>
              <a:gd name="connsiteX430" fmla="*/ 1467352 w 12192003"/>
              <a:gd name="connsiteY430" fmla="*/ 6332599 h 6857987"/>
              <a:gd name="connsiteX431" fmla="*/ 1460516 w 12192003"/>
              <a:gd name="connsiteY431" fmla="*/ 6334928 h 6857987"/>
              <a:gd name="connsiteX432" fmla="*/ 1453680 w 12192003"/>
              <a:gd name="connsiteY432" fmla="*/ 6343775 h 6857987"/>
              <a:gd name="connsiteX433" fmla="*/ 1453680 w 12192003"/>
              <a:gd name="connsiteY433" fmla="*/ 6333996 h 6857987"/>
              <a:gd name="connsiteX434" fmla="*/ 1444109 w 12192003"/>
              <a:gd name="connsiteY434" fmla="*/ 6333996 h 6857987"/>
              <a:gd name="connsiteX435" fmla="*/ 1444109 w 12192003"/>
              <a:gd name="connsiteY435" fmla="*/ 6398254 h 6857987"/>
              <a:gd name="connsiteX436" fmla="*/ 1455047 w 12192003"/>
              <a:gd name="connsiteY436" fmla="*/ 6398254 h 6857987"/>
              <a:gd name="connsiteX437" fmla="*/ 1455047 w 12192003"/>
              <a:gd name="connsiteY437" fmla="*/ 6364728 h 6857987"/>
              <a:gd name="connsiteX438" fmla="*/ 1456414 w 12192003"/>
              <a:gd name="connsiteY438" fmla="*/ 6352156 h 6857987"/>
              <a:gd name="connsiteX439" fmla="*/ 1460516 w 12192003"/>
              <a:gd name="connsiteY439" fmla="*/ 6346103 h 6857987"/>
              <a:gd name="connsiteX440" fmla="*/ 1466896 w 12192003"/>
              <a:gd name="connsiteY440" fmla="*/ 6343775 h 6857987"/>
              <a:gd name="connsiteX441" fmla="*/ 1474644 w 12192003"/>
              <a:gd name="connsiteY441" fmla="*/ 6346103 h 6857987"/>
              <a:gd name="connsiteX442" fmla="*/ 1478290 w 12192003"/>
              <a:gd name="connsiteY442" fmla="*/ 6336325 h 6857987"/>
              <a:gd name="connsiteX443" fmla="*/ 1467352 w 12192003"/>
              <a:gd name="connsiteY443" fmla="*/ 6332599 h 6857987"/>
              <a:gd name="connsiteX444" fmla="*/ 1065616 w 12192003"/>
              <a:gd name="connsiteY444" fmla="*/ 6332599 h 6857987"/>
              <a:gd name="connsiteX445" fmla="*/ 1056434 w 12192003"/>
              <a:gd name="connsiteY445" fmla="*/ 6333996 h 6857987"/>
              <a:gd name="connsiteX446" fmla="*/ 1049548 w 12192003"/>
              <a:gd name="connsiteY446" fmla="*/ 6337253 h 6857987"/>
              <a:gd name="connsiteX447" fmla="*/ 1044039 w 12192003"/>
              <a:gd name="connsiteY447" fmla="*/ 6343302 h 6857987"/>
              <a:gd name="connsiteX448" fmla="*/ 1042203 w 12192003"/>
              <a:gd name="connsiteY448" fmla="*/ 6351213 h 6857987"/>
              <a:gd name="connsiteX449" fmla="*/ 1044498 w 12192003"/>
              <a:gd name="connsiteY449" fmla="*/ 6359589 h 6857987"/>
              <a:gd name="connsiteX450" fmla="*/ 1051385 w 12192003"/>
              <a:gd name="connsiteY450" fmla="*/ 6366104 h 6857987"/>
              <a:gd name="connsiteX451" fmla="*/ 1067911 w 12192003"/>
              <a:gd name="connsiteY451" fmla="*/ 6371222 h 6857987"/>
              <a:gd name="connsiteX452" fmla="*/ 1078929 w 12192003"/>
              <a:gd name="connsiteY452" fmla="*/ 6374945 h 6857987"/>
              <a:gd name="connsiteX453" fmla="*/ 1082143 w 12192003"/>
              <a:gd name="connsiteY453" fmla="*/ 6380529 h 6857987"/>
              <a:gd name="connsiteX454" fmla="*/ 1078470 w 12192003"/>
              <a:gd name="connsiteY454" fmla="*/ 6387975 h 6857987"/>
              <a:gd name="connsiteX455" fmla="*/ 1067452 w 12192003"/>
              <a:gd name="connsiteY455" fmla="*/ 6390767 h 6857987"/>
              <a:gd name="connsiteX456" fmla="*/ 1055975 w 12192003"/>
              <a:gd name="connsiteY456" fmla="*/ 6387509 h 6857987"/>
              <a:gd name="connsiteX457" fmla="*/ 1050925 w 12192003"/>
              <a:gd name="connsiteY457" fmla="*/ 6377272 h 6857987"/>
              <a:gd name="connsiteX458" fmla="*/ 1040366 w 12192003"/>
              <a:gd name="connsiteY458" fmla="*/ 6379133 h 6857987"/>
              <a:gd name="connsiteX459" fmla="*/ 1048630 w 12192003"/>
              <a:gd name="connsiteY459" fmla="*/ 6394489 h 6857987"/>
              <a:gd name="connsiteX460" fmla="*/ 1067452 w 12192003"/>
              <a:gd name="connsiteY460" fmla="*/ 6399608 h 6857987"/>
              <a:gd name="connsiteX461" fmla="*/ 1080765 w 12192003"/>
              <a:gd name="connsiteY461" fmla="*/ 6397281 h 6857987"/>
              <a:gd name="connsiteX462" fmla="*/ 1089947 w 12192003"/>
              <a:gd name="connsiteY462" fmla="*/ 6389836 h 6857987"/>
              <a:gd name="connsiteX463" fmla="*/ 1093161 w 12192003"/>
              <a:gd name="connsiteY463" fmla="*/ 6379598 h 6857987"/>
              <a:gd name="connsiteX464" fmla="*/ 1090406 w 12192003"/>
              <a:gd name="connsiteY464" fmla="*/ 6370292 h 6857987"/>
              <a:gd name="connsiteX465" fmla="*/ 1083520 w 12192003"/>
              <a:gd name="connsiteY465" fmla="*/ 6364242 h 6857987"/>
              <a:gd name="connsiteX466" fmla="*/ 1067452 w 12192003"/>
              <a:gd name="connsiteY466" fmla="*/ 6359589 h 6857987"/>
              <a:gd name="connsiteX467" fmla="*/ 1058270 w 12192003"/>
              <a:gd name="connsiteY467" fmla="*/ 6356797 h 6857987"/>
              <a:gd name="connsiteX468" fmla="*/ 1054139 w 12192003"/>
              <a:gd name="connsiteY468" fmla="*/ 6353539 h 6857987"/>
              <a:gd name="connsiteX469" fmla="*/ 1052762 w 12192003"/>
              <a:gd name="connsiteY469" fmla="*/ 6349817 h 6857987"/>
              <a:gd name="connsiteX470" fmla="*/ 1055975 w 12192003"/>
              <a:gd name="connsiteY470" fmla="*/ 6344233 h 6857987"/>
              <a:gd name="connsiteX471" fmla="*/ 1066534 w 12192003"/>
              <a:gd name="connsiteY471" fmla="*/ 6341906 h 6857987"/>
              <a:gd name="connsiteX472" fmla="*/ 1076175 w 12192003"/>
              <a:gd name="connsiteY472" fmla="*/ 6344233 h 6857987"/>
              <a:gd name="connsiteX473" fmla="*/ 1080306 w 12192003"/>
              <a:gd name="connsiteY473" fmla="*/ 6352144 h 6857987"/>
              <a:gd name="connsiteX474" fmla="*/ 1090865 w 12192003"/>
              <a:gd name="connsiteY474" fmla="*/ 6350748 h 6857987"/>
              <a:gd name="connsiteX475" fmla="*/ 1087193 w 12192003"/>
              <a:gd name="connsiteY475" fmla="*/ 6340976 h 6857987"/>
              <a:gd name="connsiteX476" fmla="*/ 1078470 w 12192003"/>
              <a:gd name="connsiteY476" fmla="*/ 6334926 h 6857987"/>
              <a:gd name="connsiteX477" fmla="*/ 1065616 w 12192003"/>
              <a:gd name="connsiteY477" fmla="*/ 6332599 h 6857987"/>
              <a:gd name="connsiteX478" fmla="*/ 495160 w 12192003"/>
              <a:gd name="connsiteY478" fmla="*/ 6320077 h 6857987"/>
              <a:gd name="connsiteX479" fmla="*/ 512560 w 12192003"/>
              <a:gd name="connsiteY479" fmla="*/ 6320077 h 6857987"/>
              <a:gd name="connsiteX480" fmla="*/ 525838 w 12192003"/>
              <a:gd name="connsiteY480" fmla="*/ 6321460 h 6857987"/>
              <a:gd name="connsiteX481" fmla="*/ 531790 w 12192003"/>
              <a:gd name="connsiteY481" fmla="*/ 6326070 h 6857987"/>
              <a:gd name="connsiteX482" fmla="*/ 534080 w 12192003"/>
              <a:gd name="connsiteY482" fmla="*/ 6333906 h 6857987"/>
              <a:gd name="connsiteX483" fmla="*/ 531790 w 12192003"/>
              <a:gd name="connsiteY483" fmla="*/ 6341281 h 6857987"/>
              <a:gd name="connsiteX484" fmla="*/ 525380 w 12192003"/>
              <a:gd name="connsiteY484" fmla="*/ 6345891 h 6857987"/>
              <a:gd name="connsiteX485" fmla="*/ 514391 w 12192003"/>
              <a:gd name="connsiteY485" fmla="*/ 6346813 h 6857987"/>
              <a:gd name="connsiteX486" fmla="*/ 495160 w 12192003"/>
              <a:gd name="connsiteY486" fmla="*/ 6346813 h 6857987"/>
              <a:gd name="connsiteX487" fmla="*/ 1810625 w 12192003"/>
              <a:gd name="connsiteY487" fmla="*/ 6309925 h 6857987"/>
              <a:gd name="connsiteX488" fmla="*/ 1810625 w 12192003"/>
              <a:gd name="connsiteY488" fmla="*/ 6398254 h 6857987"/>
              <a:gd name="connsiteX489" fmla="*/ 1865112 w 12192003"/>
              <a:gd name="connsiteY489" fmla="*/ 6398254 h 6857987"/>
              <a:gd name="connsiteX490" fmla="*/ 1865112 w 12192003"/>
              <a:gd name="connsiteY490" fmla="*/ 6387763 h 6857987"/>
              <a:gd name="connsiteX491" fmla="*/ 1822131 w 12192003"/>
              <a:gd name="connsiteY491" fmla="*/ 6387763 h 6857987"/>
              <a:gd name="connsiteX492" fmla="*/ 1822131 w 12192003"/>
              <a:gd name="connsiteY492" fmla="*/ 6309925 h 6857987"/>
              <a:gd name="connsiteX493" fmla="*/ 1648180 w 12192003"/>
              <a:gd name="connsiteY493" fmla="*/ 6309925 h 6857987"/>
              <a:gd name="connsiteX494" fmla="*/ 1648180 w 12192003"/>
              <a:gd name="connsiteY494" fmla="*/ 6398254 h 6857987"/>
              <a:gd name="connsiteX495" fmla="*/ 1659663 w 12192003"/>
              <a:gd name="connsiteY495" fmla="*/ 6398254 h 6857987"/>
              <a:gd name="connsiteX496" fmla="*/ 1659663 w 12192003"/>
              <a:gd name="connsiteY496" fmla="*/ 6322942 h 6857987"/>
              <a:gd name="connsiteX497" fmla="*/ 1684924 w 12192003"/>
              <a:gd name="connsiteY497" fmla="*/ 6398254 h 6857987"/>
              <a:gd name="connsiteX498" fmla="*/ 1695028 w 12192003"/>
              <a:gd name="connsiteY498" fmla="*/ 6398254 h 6857987"/>
              <a:gd name="connsiteX499" fmla="*/ 1720749 w 12192003"/>
              <a:gd name="connsiteY499" fmla="*/ 6324336 h 6857987"/>
              <a:gd name="connsiteX500" fmla="*/ 1720749 w 12192003"/>
              <a:gd name="connsiteY500" fmla="*/ 6398254 h 6857987"/>
              <a:gd name="connsiteX501" fmla="*/ 1731772 w 12192003"/>
              <a:gd name="connsiteY501" fmla="*/ 6398254 h 6857987"/>
              <a:gd name="connsiteX502" fmla="*/ 1731772 w 12192003"/>
              <a:gd name="connsiteY502" fmla="*/ 6309925 h 6857987"/>
              <a:gd name="connsiteX503" fmla="*/ 1716156 w 12192003"/>
              <a:gd name="connsiteY503" fmla="*/ 6309925 h 6857987"/>
              <a:gd name="connsiteX504" fmla="*/ 1695028 w 12192003"/>
              <a:gd name="connsiteY504" fmla="*/ 6371291 h 6857987"/>
              <a:gd name="connsiteX505" fmla="*/ 1690435 w 12192003"/>
              <a:gd name="connsiteY505" fmla="*/ 6385702 h 6857987"/>
              <a:gd name="connsiteX506" fmla="*/ 1686302 w 12192003"/>
              <a:gd name="connsiteY506" fmla="*/ 6372685 h 6857987"/>
              <a:gd name="connsiteX507" fmla="*/ 1665633 w 12192003"/>
              <a:gd name="connsiteY507" fmla="*/ 6309925 h 6857987"/>
              <a:gd name="connsiteX508" fmla="*/ 1648180 w 12192003"/>
              <a:gd name="connsiteY508" fmla="*/ 6309925 h 6857987"/>
              <a:gd name="connsiteX509" fmla="*/ 1545975 w 12192003"/>
              <a:gd name="connsiteY509" fmla="*/ 6309925 h 6857987"/>
              <a:gd name="connsiteX510" fmla="*/ 1545975 w 12192003"/>
              <a:gd name="connsiteY510" fmla="*/ 6398254 h 6857987"/>
              <a:gd name="connsiteX511" fmla="*/ 1556470 w 12192003"/>
              <a:gd name="connsiteY511" fmla="*/ 6398254 h 6857987"/>
              <a:gd name="connsiteX512" fmla="*/ 1556470 w 12192003"/>
              <a:gd name="connsiteY512" fmla="*/ 6363387 h 6857987"/>
              <a:gd name="connsiteX513" fmla="*/ 1558295 w 12192003"/>
              <a:gd name="connsiteY513" fmla="*/ 6351300 h 6857987"/>
              <a:gd name="connsiteX514" fmla="*/ 1564226 w 12192003"/>
              <a:gd name="connsiteY514" fmla="*/ 6344792 h 6857987"/>
              <a:gd name="connsiteX515" fmla="*/ 1573352 w 12192003"/>
              <a:gd name="connsiteY515" fmla="*/ 6342002 h 6857987"/>
              <a:gd name="connsiteX516" fmla="*/ 1582933 w 12192003"/>
              <a:gd name="connsiteY516" fmla="*/ 6345722 h 6857987"/>
              <a:gd name="connsiteX517" fmla="*/ 1586583 w 12192003"/>
              <a:gd name="connsiteY517" fmla="*/ 6357809 h 6857987"/>
              <a:gd name="connsiteX518" fmla="*/ 1586583 w 12192003"/>
              <a:gd name="connsiteY518" fmla="*/ 6398254 h 6857987"/>
              <a:gd name="connsiteX519" fmla="*/ 1597078 w 12192003"/>
              <a:gd name="connsiteY519" fmla="*/ 6398254 h 6857987"/>
              <a:gd name="connsiteX520" fmla="*/ 1597078 w 12192003"/>
              <a:gd name="connsiteY520" fmla="*/ 6357809 h 6857987"/>
              <a:gd name="connsiteX521" fmla="*/ 1594797 w 12192003"/>
              <a:gd name="connsiteY521" fmla="*/ 6343397 h 6857987"/>
              <a:gd name="connsiteX522" fmla="*/ 1587496 w 12192003"/>
              <a:gd name="connsiteY522" fmla="*/ 6335494 h 6857987"/>
              <a:gd name="connsiteX523" fmla="*/ 1575177 w 12192003"/>
              <a:gd name="connsiteY523" fmla="*/ 6332705 h 6857987"/>
              <a:gd name="connsiteX524" fmla="*/ 1556470 w 12192003"/>
              <a:gd name="connsiteY524" fmla="*/ 6341537 h 6857987"/>
              <a:gd name="connsiteX525" fmla="*/ 1556470 w 12192003"/>
              <a:gd name="connsiteY525" fmla="*/ 6309925 h 6857987"/>
              <a:gd name="connsiteX526" fmla="*/ 1545975 w 12192003"/>
              <a:gd name="connsiteY526" fmla="*/ 6309925 h 6857987"/>
              <a:gd name="connsiteX527" fmla="*/ 1276249 w 12192003"/>
              <a:gd name="connsiteY527" fmla="*/ 6309925 h 6857987"/>
              <a:gd name="connsiteX528" fmla="*/ 1276249 w 12192003"/>
              <a:gd name="connsiteY528" fmla="*/ 6398254 h 6857987"/>
              <a:gd name="connsiteX529" fmla="*/ 1287244 w 12192003"/>
              <a:gd name="connsiteY529" fmla="*/ 6398254 h 6857987"/>
              <a:gd name="connsiteX530" fmla="*/ 1287244 w 12192003"/>
              <a:gd name="connsiteY530" fmla="*/ 6322942 h 6857987"/>
              <a:gd name="connsiteX531" fmla="*/ 1312439 w 12192003"/>
              <a:gd name="connsiteY531" fmla="*/ 6398254 h 6857987"/>
              <a:gd name="connsiteX532" fmla="*/ 1322975 w 12192003"/>
              <a:gd name="connsiteY532" fmla="*/ 6398254 h 6857987"/>
              <a:gd name="connsiteX533" fmla="*/ 1348169 w 12192003"/>
              <a:gd name="connsiteY533" fmla="*/ 6324337 h 6857987"/>
              <a:gd name="connsiteX534" fmla="*/ 1348169 w 12192003"/>
              <a:gd name="connsiteY534" fmla="*/ 6398254 h 6857987"/>
              <a:gd name="connsiteX535" fmla="*/ 1359164 w 12192003"/>
              <a:gd name="connsiteY535" fmla="*/ 6398254 h 6857987"/>
              <a:gd name="connsiteX536" fmla="*/ 1359164 w 12192003"/>
              <a:gd name="connsiteY536" fmla="*/ 6309925 h 6857987"/>
              <a:gd name="connsiteX537" fmla="*/ 1343589 w 12192003"/>
              <a:gd name="connsiteY537" fmla="*/ 6309925 h 6857987"/>
              <a:gd name="connsiteX538" fmla="*/ 1322975 w 12192003"/>
              <a:gd name="connsiteY538" fmla="*/ 6371291 h 6857987"/>
              <a:gd name="connsiteX539" fmla="*/ 1318394 w 12192003"/>
              <a:gd name="connsiteY539" fmla="*/ 6385702 h 6857987"/>
              <a:gd name="connsiteX540" fmla="*/ 1314271 w 12192003"/>
              <a:gd name="connsiteY540" fmla="*/ 6372685 h 6857987"/>
              <a:gd name="connsiteX541" fmla="*/ 1293657 w 12192003"/>
              <a:gd name="connsiteY541" fmla="*/ 6309925 h 6857987"/>
              <a:gd name="connsiteX542" fmla="*/ 1276249 w 12192003"/>
              <a:gd name="connsiteY542" fmla="*/ 6309925 h 6857987"/>
              <a:gd name="connsiteX543" fmla="*/ 483655 w 12192003"/>
              <a:gd name="connsiteY543" fmla="*/ 6309925 h 6857987"/>
              <a:gd name="connsiteX544" fmla="*/ 483655 w 12192003"/>
              <a:gd name="connsiteY544" fmla="*/ 6398255 h 6857987"/>
              <a:gd name="connsiteX545" fmla="*/ 517110 w 12192003"/>
              <a:gd name="connsiteY545" fmla="*/ 6398255 h 6857987"/>
              <a:gd name="connsiteX546" fmla="*/ 530859 w 12192003"/>
              <a:gd name="connsiteY546" fmla="*/ 6396860 h 6857987"/>
              <a:gd name="connsiteX547" fmla="*/ 540483 w 12192003"/>
              <a:gd name="connsiteY547" fmla="*/ 6392676 h 6857987"/>
              <a:gd name="connsiteX548" fmla="*/ 546899 w 12192003"/>
              <a:gd name="connsiteY548" fmla="*/ 6384308 h 6857987"/>
              <a:gd name="connsiteX549" fmla="*/ 549649 w 12192003"/>
              <a:gd name="connsiteY549" fmla="*/ 6372685 h 6857987"/>
              <a:gd name="connsiteX550" fmla="*/ 545524 w 12192003"/>
              <a:gd name="connsiteY550" fmla="*/ 6359203 h 6857987"/>
              <a:gd name="connsiteX551" fmla="*/ 533150 w 12192003"/>
              <a:gd name="connsiteY551" fmla="*/ 6351301 h 6857987"/>
              <a:gd name="connsiteX552" fmla="*/ 542316 w 12192003"/>
              <a:gd name="connsiteY552" fmla="*/ 6343398 h 6857987"/>
              <a:gd name="connsiteX553" fmla="*/ 545524 w 12192003"/>
              <a:gd name="connsiteY553" fmla="*/ 6332705 h 6857987"/>
              <a:gd name="connsiteX554" fmla="*/ 541858 w 12192003"/>
              <a:gd name="connsiteY554" fmla="*/ 6321083 h 6857987"/>
              <a:gd name="connsiteX555" fmla="*/ 532692 w 12192003"/>
              <a:gd name="connsiteY555" fmla="*/ 6312714 h 6857987"/>
              <a:gd name="connsiteX556" fmla="*/ 516652 w 12192003"/>
              <a:gd name="connsiteY556" fmla="*/ 6309925 h 6857987"/>
              <a:gd name="connsiteX557" fmla="*/ 483655 w 12192003"/>
              <a:gd name="connsiteY557" fmla="*/ 6309925 h 6857987"/>
              <a:gd name="connsiteX558" fmla="*/ 691439 w 12192003"/>
              <a:gd name="connsiteY558" fmla="*/ 6309087 h 6857987"/>
              <a:gd name="connsiteX559" fmla="*/ 691439 w 12192003"/>
              <a:gd name="connsiteY559" fmla="*/ 6323017 h 6857987"/>
              <a:gd name="connsiteX560" fmla="*/ 703872 w 12192003"/>
              <a:gd name="connsiteY560" fmla="*/ 6323017 h 6857987"/>
              <a:gd name="connsiteX561" fmla="*/ 703872 w 12192003"/>
              <a:gd name="connsiteY561" fmla="*/ 6309087 h 6857987"/>
              <a:gd name="connsiteX562" fmla="*/ 1227647 w 12192003"/>
              <a:gd name="connsiteY562" fmla="*/ 6308233 h 6857987"/>
              <a:gd name="connsiteX563" fmla="*/ 1216580 w 12192003"/>
              <a:gd name="connsiteY563" fmla="*/ 6310565 h 6857987"/>
              <a:gd name="connsiteX564" fmla="*/ 1211048 w 12192003"/>
              <a:gd name="connsiteY564" fmla="*/ 6317561 h 6857987"/>
              <a:gd name="connsiteX565" fmla="*/ 1210125 w 12192003"/>
              <a:gd name="connsiteY565" fmla="*/ 6327356 h 6857987"/>
              <a:gd name="connsiteX566" fmla="*/ 1210125 w 12192003"/>
              <a:gd name="connsiteY566" fmla="*/ 6333887 h 6857987"/>
              <a:gd name="connsiteX567" fmla="*/ 1200442 w 12192003"/>
              <a:gd name="connsiteY567" fmla="*/ 6333887 h 6857987"/>
              <a:gd name="connsiteX568" fmla="*/ 1200442 w 12192003"/>
              <a:gd name="connsiteY568" fmla="*/ 6342749 h 6857987"/>
              <a:gd name="connsiteX569" fmla="*/ 1210125 w 12192003"/>
              <a:gd name="connsiteY569" fmla="*/ 6342749 h 6857987"/>
              <a:gd name="connsiteX570" fmla="*/ 1210125 w 12192003"/>
              <a:gd name="connsiteY570" fmla="*/ 6398254 h 6857987"/>
              <a:gd name="connsiteX571" fmla="*/ 1220731 w 12192003"/>
              <a:gd name="connsiteY571" fmla="*/ 6398254 h 6857987"/>
              <a:gd name="connsiteX572" fmla="*/ 1220731 w 12192003"/>
              <a:gd name="connsiteY572" fmla="*/ 6342749 h 6857987"/>
              <a:gd name="connsiteX573" fmla="*/ 1233181 w 12192003"/>
              <a:gd name="connsiteY573" fmla="*/ 6342749 h 6857987"/>
              <a:gd name="connsiteX574" fmla="*/ 1233181 w 12192003"/>
              <a:gd name="connsiteY574" fmla="*/ 6333887 h 6857987"/>
              <a:gd name="connsiteX575" fmla="*/ 1220731 w 12192003"/>
              <a:gd name="connsiteY575" fmla="*/ 6333887 h 6857987"/>
              <a:gd name="connsiteX576" fmla="*/ 1220731 w 12192003"/>
              <a:gd name="connsiteY576" fmla="*/ 6328289 h 6857987"/>
              <a:gd name="connsiteX577" fmla="*/ 1222575 w 12192003"/>
              <a:gd name="connsiteY577" fmla="*/ 6320360 h 6857987"/>
              <a:gd name="connsiteX578" fmla="*/ 1229492 w 12192003"/>
              <a:gd name="connsiteY578" fmla="*/ 6318028 h 6857987"/>
              <a:gd name="connsiteX579" fmla="*/ 1235947 w 12192003"/>
              <a:gd name="connsiteY579" fmla="*/ 6318494 h 6857987"/>
              <a:gd name="connsiteX580" fmla="*/ 1237331 w 12192003"/>
              <a:gd name="connsiteY580" fmla="*/ 6309166 h 6857987"/>
              <a:gd name="connsiteX581" fmla="*/ 1227647 w 12192003"/>
              <a:gd name="connsiteY581" fmla="*/ 6308233 h 6857987"/>
              <a:gd name="connsiteX582" fmla="*/ 4343962 w 12192003"/>
              <a:gd name="connsiteY582" fmla="*/ 527037 h 6857987"/>
              <a:gd name="connsiteX583" fmla="*/ 4386267 w 12192003"/>
              <a:gd name="connsiteY583" fmla="*/ 535587 h 6857987"/>
              <a:gd name="connsiteX584" fmla="*/ 4372164 w 12192003"/>
              <a:gd name="connsiteY584" fmla="*/ 574062 h 6857987"/>
              <a:gd name="connsiteX585" fmla="*/ 4336442 w 12192003"/>
              <a:gd name="connsiteY585" fmla="*/ 587362 h 6857987"/>
              <a:gd name="connsiteX586" fmla="*/ 4311058 w 12192003"/>
              <a:gd name="connsiteY586" fmla="*/ 579287 h 6857987"/>
              <a:gd name="connsiteX587" fmla="*/ 4302127 w 12192003"/>
              <a:gd name="connsiteY587" fmla="*/ 557437 h 6857987"/>
              <a:gd name="connsiteX588" fmla="*/ 4312470 w 12192003"/>
              <a:gd name="connsiteY588" fmla="*/ 534637 h 6857987"/>
              <a:gd name="connsiteX589" fmla="*/ 4343962 w 12192003"/>
              <a:gd name="connsiteY589" fmla="*/ 527037 h 6857987"/>
              <a:gd name="connsiteX590" fmla="*/ 2099238 w 12192003"/>
              <a:gd name="connsiteY590" fmla="*/ 527037 h 6857987"/>
              <a:gd name="connsiteX591" fmla="*/ 2141542 w 12192003"/>
              <a:gd name="connsiteY591" fmla="*/ 535587 h 6857987"/>
              <a:gd name="connsiteX592" fmla="*/ 2127440 w 12192003"/>
              <a:gd name="connsiteY592" fmla="*/ 574062 h 6857987"/>
              <a:gd name="connsiteX593" fmla="*/ 2091716 w 12192003"/>
              <a:gd name="connsiteY593" fmla="*/ 587362 h 6857987"/>
              <a:gd name="connsiteX594" fmla="*/ 2066334 w 12192003"/>
              <a:gd name="connsiteY594" fmla="*/ 579287 h 6857987"/>
              <a:gd name="connsiteX595" fmla="*/ 2057404 w 12192003"/>
              <a:gd name="connsiteY595" fmla="*/ 557437 h 6857987"/>
              <a:gd name="connsiteX596" fmla="*/ 2067744 w 12192003"/>
              <a:gd name="connsiteY596" fmla="*/ 534637 h 6857987"/>
              <a:gd name="connsiteX597" fmla="*/ 2099238 w 12192003"/>
              <a:gd name="connsiteY597" fmla="*/ 527037 h 6857987"/>
              <a:gd name="connsiteX598" fmla="*/ 3708394 w 12192003"/>
              <a:gd name="connsiteY598" fmla="*/ 512749 h 6857987"/>
              <a:gd name="connsiteX599" fmla="*/ 3767141 w 12192003"/>
              <a:gd name="connsiteY599" fmla="*/ 581703 h 6857987"/>
              <a:gd name="connsiteX600" fmla="*/ 3724029 w 12192003"/>
              <a:gd name="connsiteY600" fmla="*/ 595299 h 6857987"/>
              <a:gd name="connsiteX601" fmla="*/ 3689918 w 12192003"/>
              <a:gd name="connsiteY601" fmla="*/ 584616 h 6857987"/>
              <a:gd name="connsiteX602" fmla="*/ 3676653 w 12192003"/>
              <a:gd name="connsiteY602" fmla="*/ 556452 h 6857987"/>
              <a:gd name="connsiteX603" fmla="*/ 3708394 w 12192003"/>
              <a:gd name="connsiteY603" fmla="*/ 512749 h 6857987"/>
              <a:gd name="connsiteX604" fmla="*/ 2481822 w 12192003"/>
              <a:gd name="connsiteY604" fmla="*/ 458774 h 6857987"/>
              <a:gd name="connsiteX605" fmla="*/ 2510832 w 12192003"/>
              <a:gd name="connsiteY605" fmla="*/ 466860 h 6857987"/>
              <a:gd name="connsiteX606" fmla="*/ 2530807 w 12192003"/>
              <a:gd name="connsiteY606" fmla="*/ 488264 h 6857987"/>
              <a:gd name="connsiteX607" fmla="*/ 2538416 w 12192003"/>
              <a:gd name="connsiteY607" fmla="*/ 520131 h 6857987"/>
              <a:gd name="connsiteX608" fmla="*/ 2530807 w 12192003"/>
              <a:gd name="connsiteY608" fmla="*/ 551523 h 6857987"/>
              <a:gd name="connsiteX609" fmla="*/ 2510832 w 12192003"/>
              <a:gd name="connsiteY609" fmla="*/ 573402 h 6857987"/>
              <a:gd name="connsiteX610" fmla="*/ 2481822 w 12192003"/>
              <a:gd name="connsiteY610" fmla="*/ 581013 h 6857987"/>
              <a:gd name="connsiteX611" fmla="*/ 2452811 w 12192003"/>
              <a:gd name="connsiteY611" fmla="*/ 573402 h 6857987"/>
              <a:gd name="connsiteX612" fmla="*/ 2432837 w 12192003"/>
              <a:gd name="connsiteY612" fmla="*/ 551523 h 6857987"/>
              <a:gd name="connsiteX613" fmla="*/ 2425703 w 12192003"/>
              <a:gd name="connsiteY613" fmla="*/ 520131 h 6857987"/>
              <a:gd name="connsiteX614" fmla="*/ 2432837 w 12192003"/>
              <a:gd name="connsiteY614" fmla="*/ 488264 h 6857987"/>
              <a:gd name="connsiteX615" fmla="*/ 2452811 w 12192003"/>
              <a:gd name="connsiteY615" fmla="*/ 466860 h 6857987"/>
              <a:gd name="connsiteX616" fmla="*/ 2481822 w 12192003"/>
              <a:gd name="connsiteY616" fmla="*/ 458774 h 6857987"/>
              <a:gd name="connsiteX617" fmla="*/ 3298660 w 12192003"/>
              <a:gd name="connsiteY617" fmla="*/ 452424 h 6857987"/>
              <a:gd name="connsiteX618" fmla="*/ 3330364 w 12192003"/>
              <a:gd name="connsiteY618" fmla="*/ 462835 h 6857987"/>
              <a:gd name="connsiteX619" fmla="*/ 3345980 w 12192003"/>
              <a:gd name="connsiteY619" fmla="*/ 494066 h 6857987"/>
              <a:gd name="connsiteX620" fmla="*/ 3346453 w 12192003"/>
              <a:gd name="connsiteY620" fmla="*/ 501637 h 6857987"/>
              <a:gd name="connsiteX621" fmla="*/ 3248028 w 12192003"/>
              <a:gd name="connsiteY621" fmla="*/ 501637 h 6857987"/>
              <a:gd name="connsiteX622" fmla="*/ 3264590 w 12192003"/>
              <a:gd name="connsiteY622" fmla="*/ 465201 h 6857987"/>
              <a:gd name="connsiteX623" fmla="*/ 3298660 w 12192003"/>
              <a:gd name="connsiteY623" fmla="*/ 452424 h 6857987"/>
              <a:gd name="connsiteX624" fmla="*/ 2704935 w 12192003"/>
              <a:gd name="connsiteY624" fmla="*/ 452424 h 6857987"/>
              <a:gd name="connsiteX625" fmla="*/ 2736639 w 12192003"/>
              <a:gd name="connsiteY625" fmla="*/ 462835 h 6857987"/>
              <a:gd name="connsiteX626" fmla="*/ 2752255 w 12192003"/>
              <a:gd name="connsiteY626" fmla="*/ 494066 h 6857987"/>
              <a:gd name="connsiteX627" fmla="*/ 2752728 w 12192003"/>
              <a:gd name="connsiteY627" fmla="*/ 501637 h 6857987"/>
              <a:gd name="connsiteX628" fmla="*/ 2654303 w 12192003"/>
              <a:gd name="connsiteY628" fmla="*/ 501637 h 6857987"/>
              <a:gd name="connsiteX629" fmla="*/ 2670865 w 12192003"/>
              <a:gd name="connsiteY629" fmla="*/ 465201 h 6857987"/>
              <a:gd name="connsiteX630" fmla="*/ 2704935 w 12192003"/>
              <a:gd name="connsiteY630" fmla="*/ 452424 h 6857987"/>
              <a:gd name="connsiteX631" fmla="*/ 1539880 w 12192003"/>
              <a:gd name="connsiteY631" fmla="*/ 423851 h 6857987"/>
              <a:gd name="connsiteX632" fmla="*/ 1621823 w 12192003"/>
              <a:gd name="connsiteY632" fmla="*/ 609897 h 6857987"/>
              <a:gd name="connsiteX633" fmla="*/ 1602403 w 12192003"/>
              <a:gd name="connsiteY633" fmla="*/ 639549 h 6857987"/>
              <a:gd name="connsiteX634" fmla="*/ 1576825 w 12192003"/>
              <a:gd name="connsiteY634" fmla="*/ 647680 h 6857987"/>
              <a:gd name="connsiteX635" fmla="*/ 1561668 w 12192003"/>
              <a:gd name="connsiteY635" fmla="*/ 645289 h 6857987"/>
              <a:gd name="connsiteX636" fmla="*/ 1546985 w 12192003"/>
              <a:gd name="connsiteY636" fmla="*/ 640984 h 6857987"/>
              <a:gd name="connsiteX637" fmla="*/ 1546985 w 12192003"/>
              <a:gd name="connsiteY637" fmla="*/ 680680 h 6857987"/>
              <a:gd name="connsiteX638" fmla="*/ 1563089 w 12192003"/>
              <a:gd name="connsiteY638" fmla="*/ 685463 h 6857987"/>
              <a:gd name="connsiteX639" fmla="*/ 1579667 w 12192003"/>
              <a:gd name="connsiteY639" fmla="*/ 687376 h 6857987"/>
              <a:gd name="connsiteX640" fmla="*/ 1611876 w 12192003"/>
              <a:gd name="connsiteY640" fmla="*/ 681159 h 6857987"/>
              <a:gd name="connsiteX641" fmla="*/ 1639822 w 12192003"/>
              <a:gd name="connsiteY641" fmla="*/ 658680 h 6857987"/>
              <a:gd name="connsiteX642" fmla="*/ 1665400 w 12192003"/>
              <a:gd name="connsiteY642" fmla="*/ 611332 h 6857987"/>
              <a:gd name="connsiteX643" fmla="*/ 1743080 w 12192003"/>
              <a:gd name="connsiteY643" fmla="*/ 423851 h 6857987"/>
              <a:gd name="connsiteX644" fmla="*/ 1699977 w 12192003"/>
              <a:gd name="connsiteY644" fmla="*/ 423851 h 6857987"/>
              <a:gd name="connsiteX645" fmla="*/ 1644558 w 12192003"/>
              <a:gd name="connsiteY645" fmla="*/ 558722 h 6857987"/>
              <a:gd name="connsiteX646" fmla="*/ 1585351 w 12192003"/>
              <a:gd name="connsiteY646" fmla="*/ 423851 h 6857987"/>
              <a:gd name="connsiteX647" fmla="*/ 1539880 w 12192003"/>
              <a:gd name="connsiteY647" fmla="*/ 423851 h 6857987"/>
              <a:gd name="connsiteX648" fmla="*/ 1339855 w 12192003"/>
              <a:gd name="connsiteY648" fmla="*/ 423851 h 6857987"/>
              <a:gd name="connsiteX649" fmla="*/ 1339855 w 12192003"/>
              <a:gd name="connsiteY649" fmla="*/ 543777 h 6857987"/>
              <a:gd name="connsiteX650" fmla="*/ 1356953 w 12192003"/>
              <a:gd name="connsiteY650" fmla="*/ 601112 h 6857987"/>
              <a:gd name="connsiteX651" fmla="*/ 1405870 w 12192003"/>
              <a:gd name="connsiteY651" fmla="*/ 620701 h 6857987"/>
              <a:gd name="connsiteX652" fmla="*/ 1443865 w 12192003"/>
              <a:gd name="connsiteY652" fmla="*/ 611623 h 6857987"/>
              <a:gd name="connsiteX653" fmla="*/ 1467611 w 12192003"/>
              <a:gd name="connsiteY653" fmla="*/ 585345 h 6857987"/>
              <a:gd name="connsiteX654" fmla="*/ 1468561 w 12192003"/>
              <a:gd name="connsiteY654" fmla="*/ 614968 h 6857987"/>
              <a:gd name="connsiteX655" fmla="*/ 1511305 w 12192003"/>
              <a:gd name="connsiteY655" fmla="*/ 614968 h 6857987"/>
              <a:gd name="connsiteX656" fmla="*/ 1511305 w 12192003"/>
              <a:gd name="connsiteY656" fmla="*/ 423851 h 6857987"/>
              <a:gd name="connsiteX657" fmla="*/ 1467137 w 12192003"/>
              <a:gd name="connsiteY657" fmla="*/ 423851 h 6857987"/>
              <a:gd name="connsiteX658" fmla="*/ 1467137 w 12192003"/>
              <a:gd name="connsiteY658" fmla="*/ 528010 h 6857987"/>
              <a:gd name="connsiteX659" fmla="*/ 1455263 w 12192003"/>
              <a:gd name="connsiteY659" fmla="*/ 566711 h 6857987"/>
              <a:gd name="connsiteX660" fmla="*/ 1422968 w 12192003"/>
              <a:gd name="connsiteY660" fmla="*/ 581044 h 6857987"/>
              <a:gd name="connsiteX661" fmla="*/ 1393522 w 12192003"/>
              <a:gd name="connsiteY661" fmla="*/ 569577 h 6857987"/>
              <a:gd name="connsiteX662" fmla="*/ 1384499 w 12192003"/>
              <a:gd name="connsiteY662" fmla="*/ 533265 h 6857987"/>
              <a:gd name="connsiteX663" fmla="*/ 1384499 w 12192003"/>
              <a:gd name="connsiteY663" fmla="*/ 423851 h 6857987"/>
              <a:gd name="connsiteX664" fmla="*/ 1339855 w 12192003"/>
              <a:gd name="connsiteY664" fmla="*/ 423851 h 6857987"/>
              <a:gd name="connsiteX665" fmla="*/ 3528512 w 12192003"/>
              <a:gd name="connsiteY665" fmla="*/ 420676 h 6857987"/>
              <a:gd name="connsiteX666" fmla="*/ 3493700 w 12192003"/>
              <a:gd name="connsiteY666" fmla="*/ 432218 h 6857987"/>
              <a:gd name="connsiteX667" fmla="*/ 3470335 w 12192003"/>
              <a:gd name="connsiteY667" fmla="*/ 463480 h 6857987"/>
              <a:gd name="connsiteX668" fmla="*/ 3470335 w 12192003"/>
              <a:gd name="connsiteY668" fmla="*/ 423561 h 6857987"/>
              <a:gd name="connsiteX669" fmla="*/ 3427417 w 12192003"/>
              <a:gd name="connsiteY669" fmla="*/ 423561 h 6857987"/>
              <a:gd name="connsiteX670" fmla="*/ 3427417 w 12192003"/>
              <a:gd name="connsiteY670" fmla="*/ 615939 h 6857987"/>
              <a:gd name="connsiteX671" fmla="*/ 3472242 w 12192003"/>
              <a:gd name="connsiteY671" fmla="*/ 615939 h 6857987"/>
              <a:gd name="connsiteX672" fmla="*/ 3472242 w 12192003"/>
              <a:gd name="connsiteY672" fmla="*/ 526002 h 6857987"/>
              <a:gd name="connsiteX673" fmla="*/ 3485118 w 12192003"/>
              <a:gd name="connsiteY673" fmla="*/ 478870 h 6857987"/>
              <a:gd name="connsiteX674" fmla="*/ 3522789 w 12192003"/>
              <a:gd name="connsiteY674" fmla="*/ 462999 h 6857987"/>
              <a:gd name="connsiteX675" fmla="*/ 3539002 w 12192003"/>
              <a:gd name="connsiteY675" fmla="*/ 464441 h 6857987"/>
              <a:gd name="connsiteX676" fmla="*/ 3552831 w 12192003"/>
              <a:gd name="connsiteY676" fmla="*/ 467327 h 6857987"/>
              <a:gd name="connsiteX677" fmla="*/ 3552831 w 12192003"/>
              <a:gd name="connsiteY677" fmla="*/ 424523 h 6857987"/>
              <a:gd name="connsiteX678" fmla="*/ 3541386 w 12192003"/>
              <a:gd name="connsiteY678" fmla="*/ 421638 h 6857987"/>
              <a:gd name="connsiteX679" fmla="*/ 3528512 w 12192003"/>
              <a:gd name="connsiteY679" fmla="*/ 420676 h 6857987"/>
              <a:gd name="connsiteX680" fmla="*/ 2328578 w 12192003"/>
              <a:gd name="connsiteY680" fmla="*/ 420676 h 6857987"/>
              <a:gd name="connsiteX681" fmla="*/ 2294076 w 12192003"/>
              <a:gd name="connsiteY681" fmla="*/ 432218 h 6857987"/>
              <a:gd name="connsiteX682" fmla="*/ 2271391 w 12192003"/>
              <a:gd name="connsiteY682" fmla="*/ 463480 h 6857987"/>
              <a:gd name="connsiteX683" fmla="*/ 2270919 w 12192003"/>
              <a:gd name="connsiteY683" fmla="*/ 423562 h 6857987"/>
              <a:gd name="connsiteX684" fmla="*/ 2228855 w 12192003"/>
              <a:gd name="connsiteY684" fmla="*/ 423562 h 6857987"/>
              <a:gd name="connsiteX685" fmla="*/ 2228855 w 12192003"/>
              <a:gd name="connsiteY685" fmla="*/ 615939 h 6857987"/>
              <a:gd name="connsiteX686" fmla="*/ 2272809 w 12192003"/>
              <a:gd name="connsiteY686" fmla="*/ 615939 h 6857987"/>
              <a:gd name="connsiteX687" fmla="*/ 2272809 w 12192003"/>
              <a:gd name="connsiteY687" fmla="*/ 526003 h 6857987"/>
              <a:gd name="connsiteX688" fmla="*/ 2285570 w 12192003"/>
              <a:gd name="connsiteY688" fmla="*/ 478870 h 6857987"/>
              <a:gd name="connsiteX689" fmla="*/ 2323378 w 12192003"/>
              <a:gd name="connsiteY689" fmla="*/ 462999 h 6857987"/>
              <a:gd name="connsiteX690" fmla="*/ 2338975 w 12192003"/>
              <a:gd name="connsiteY690" fmla="*/ 464442 h 6857987"/>
              <a:gd name="connsiteX691" fmla="*/ 2352680 w 12192003"/>
              <a:gd name="connsiteY691" fmla="*/ 467327 h 6857987"/>
              <a:gd name="connsiteX692" fmla="*/ 2352680 w 12192003"/>
              <a:gd name="connsiteY692" fmla="*/ 424523 h 6857987"/>
              <a:gd name="connsiteX693" fmla="*/ 2341337 w 12192003"/>
              <a:gd name="connsiteY693" fmla="*/ 421638 h 6857987"/>
              <a:gd name="connsiteX694" fmla="*/ 2328578 w 12192003"/>
              <a:gd name="connsiteY694" fmla="*/ 420676 h 6857987"/>
              <a:gd name="connsiteX695" fmla="*/ 4574980 w 12192003"/>
              <a:gd name="connsiteY695" fmla="*/ 420675 h 6857987"/>
              <a:gd name="connsiteX696" fmla="*/ 4540610 w 12192003"/>
              <a:gd name="connsiteY696" fmla="*/ 432601 h 6857987"/>
              <a:gd name="connsiteX697" fmla="*/ 4517539 w 12192003"/>
              <a:gd name="connsiteY697" fmla="*/ 463608 h 6857987"/>
              <a:gd name="connsiteX698" fmla="*/ 4517539 w 12192003"/>
              <a:gd name="connsiteY698" fmla="*/ 424015 h 6857987"/>
              <a:gd name="connsiteX699" fmla="*/ 4475165 w 12192003"/>
              <a:gd name="connsiteY699" fmla="*/ 424015 h 6857987"/>
              <a:gd name="connsiteX700" fmla="*/ 4475165 w 12192003"/>
              <a:gd name="connsiteY700" fmla="*/ 614350 h 6857987"/>
              <a:gd name="connsiteX701" fmla="*/ 4519424 w 12192003"/>
              <a:gd name="connsiteY701" fmla="*/ 614350 h 6857987"/>
              <a:gd name="connsiteX702" fmla="*/ 4519424 w 12192003"/>
              <a:gd name="connsiteY702" fmla="*/ 525145 h 6857987"/>
              <a:gd name="connsiteX703" fmla="*/ 4532136 w 12192003"/>
              <a:gd name="connsiteY703" fmla="*/ 478873 h 6857987"/>
              <a:gd name="connsiteX704" fmla="*/ 4569330 w 12192003"/>
              <a:gd name="connsiteY704" fmla="*/ 462654 h 6857987"/>
              <a:gd name="connsiteX705" fmla="*/ 4585338 w 12192003"/>
              <a:gd name="connsiteY705" fmla="*/ 464085 h 6857987"/>
              <a:gd name="connsiteX706" fmla="*/ 4598993 w 12192003"/>
              <a:gd name="connsiteY706" fmla="*/ 466947 h 6857987"/>
              <a:gd name="connsiteX707" fmla="*/ 4598993 w 12192003"/>
              <a:gd name="connsiteY707" fmla="*/ 424492 h 6857987"/>
              <a:gd name="connsiteX708" fmla="*/ 4587220 w 12192003"/>
              <a:gd name="connsiteY708" fmla="*/ 421629 h 6857987"/>
              <a:gd name="connsiteX709" fmla="*/ 4574980 w 12192003"/>
              <a:gd name="connsiteY709" fmla="*/ 420675 h 6857987"/>
              <a:gd name="connsiteX710" fmla="*/ 3301042 w 12192003"/>
              <a:gd name="connsiteY710" fmla="*/ 419089 h 6857987"/>
              <a:gd name="connsiteX711" fmla="*/ 3251208 w 12192003"/>
              <a:gd name="connsiteY711" fmla="*/ 431927 h 6857987"/>
              <a:gd name="connsiteX712" fmla="*/ 3217509 w 12192003"/>
              <a:gd name="connsiteY712" fmla="*/ 467590 h 6857987"/>
              <a:gd name="connsiteX713" fmla="*/ 3205171 w 12192003"/>
              <a:gd name="connsiteY713" fmla="*/ 520371 h 6857987"/>
              <a:gd name="connsiteX714" fmla="*/ 3218934 w 12192003"/>
              <a:gd name="connsiteY714" fmla="*/ 575529 h 6857987"/>
              <a:gd name="connsiteX715" fmla="*/ 3256428 w 12192003"/>
              <a:gd name="connsiteY715" fmla="*/ 609290 h 6857987"/>
              <a:gd name="connsiteX716" fmla="*/ 3311484 w 12192003"/>
              <a:gd name="connsiteY716" fmla="*/ 620702 h 6857987"/>
              <a:gd name="connsiteX717" fmla="*/ 3349453 w 12192003"/>
              <a:gd name="connsiteY717" fmla="*/ 614520 h 6857987"/>
              <a:gd name="connsiteX718" fmla="*/ 3383150 w 12192003"/>
              <a:gd name="connsiteY718" fmla="*/ 598353 h 6857987"/>
              <a:gd name="connsiteX719" fmla="*/ 3383150 w 12192003"/>
              <a:gd name="connsiteY719" fmla="*/ 559362 h 6857987"/>
              <a:gd name="connsiteX720" fmla="*/ 3315280 w 12192003"/>
              <a:gd name="connsiteY720" fmla="*/ 582186 h 6857987"/>
              <a:gd name="connsiteX721" fmla="*/ 3269243 w 12192003"/>
              <a:gd name="connsiteY721" fmla="*/ 568872 h 6857987"/>
              <a:gd name="connsiteX722" fmla="*/ 3248360 w 12192003"/>
              <a:gd name="connsiteY722" fmla="*/ 531783 h 6857987"/>
              <a:gd name="connsiteX723" fmla="*/ 3387896 w 12192003"/>
              <a:gd name="connsiteY723" fmla="*/ 531783 h 6857987"/>
              <a:gd name="connsiteX724" fmla="*/ 3388845 w 12192003"/>
              <a:gd name="connsiteY724" fmla="*/ 520371 h 6857987"/>
              <a:gd name="connsiteX725" fmla="*/ 3389319 w 12192003"/>
              <a:gd name="connsiteY725" fmla="*/ 512763 h 6857987"/>
              <a:gd name="connsiteX726" fmla="*/ 3378404 w 12192003"/>
              <a:gd name="connsiteY726" fmla="*/ 463310 h 6857987"/>
              <a:gd name="connsiteX727" fmla="*/ 3347554 w 12192003"/>
              <a:gd name="connsiteY727" fmla="*/ 430501 h 6857987"/>
              <a:gd name="connsiteX728" fmla="*/ 3301042 w 12192003"/>
              <a:gd name="connsiteY728" fmla="*/ 419089 h 6857987"/>
              <a:gd name="connsiteX729" fmla="*/ 2706490 w 12192003"/>
              <a:gd name="connsiteY729" fmla="*/ 419089 h 6857987"/>
              <a:gd name="connsiteX730" fmla="*/ 2657556 w 12192003"/>
              <a:gd name="connsiteY730" fmla="*/ 431927 h 6857987"/>
              <a:gd name="connsiteX731" fmla="*/ 2623678 w 12192003"/>
              <a:gd name="connsiteY731" fmla="*/ 467590 h 6857987"/>
              <a:gd name="connsiteX732" fmla="*/ 2611445 w 12192003"/>
              <a:gd name="connsiteY732" fmla="*/ 520371 h 6857987"/>
              <a:gd name="connsiteX733" fmla="*/ 2625091 w 12192003"/>
              <a:gd name="connsiteY733" fmla="*/ 575529 h 6857987"/>
              <a:gd name="connsiteX734" fmla="*/ 2662731 w 12192003"/>
              <a:gd name="connsiteY734" fmla="*/ 609290 h 6857987"/>
              <a:gd name="connsiteX735" fmla="*/ 2716842 w 12192003"/>
              <a:gd name="connsiteY735" fmla="*/ 620701 h 6857987"/>
              <a:gd name="connsiteX736" fmla="*/ 2754483 w 12192003"/>
              <a:gd name="connsiteY736" fmla="*/ 614520 h 6857987"/>
              <a:gd name="connsiteX737" fmla="*/ 2787891 w 12192003"/>
              <a:gd name="connsiteY737" fmla="*/ 598353 h 6857987"/>
              <a:gd name="connsiteX738" fmla="*/ 2787891 w 12192003"/>
              <a:gd name="connsiteY738" fmla="*/ 559362 h 6857987"/>
              <a:gd name="connsiteX739" fmla="*/ 2721077 w 12192003"/>
              <a:gd name="connsiteY739" fmla="*/ 582186 h 6857987"/>
              <a:gd name="connsiteX740" fmla="*/ 2675436 w 12192003"/>
              <a:gd name="connsiteY740" fmla="*/ 568872 h 6857987"/>
              <a:gd name="connsiteX741" fmla="*/ 2654262 w 12192003"/>
              <a:gd name="connsiteY741" fmla="*/ 531783 h 6857987"/>
              <a:gd name="connsiteX742" fmla="*/ 2792597 w 12192003"/>
              <a:gd name="connsiteY742" fmla="*/ 531783 h 6857987"/>
              <a:gd name="connsiteX743" fmla="*/ 2793537 w 12192003"/>
              <a:gd name="connsiteY743" fmla="*/ 520371 h 6857987"/>
              <a:gd name="connsiteX744" fmla="*/ 2794007 w 12192003"/>
              <a:gd name="connsiteY744" fmla="*/ 512763 h 6857987"/>
              <a:gd name="connsiteX745" fmla="*/ 2783185 w 12192003"/>
              <a:gd name="connsiteY745" fmla="*/ 463310 h 6857987"/>
              <a:gd name="connsiteX746" fmla="*/ 2752603 w 12192003"/>
              <a:gd name="connsiteY746" fmla="*/ 430501 h 6857987"/>
              <a:gd name="connsiteX747" fmla="*/ 2706490 w 12192003"/>
              <a:gd name="connsiteY747" fmla="*/ 419089 h 6857987"/>
              <a:gd name="connsiteX748" fmla="*/ 2936942 w 12192003"/>
              <a:gd name="connsiteY748" fmla="*/ 419088 h 6857987"/>
              <a:gd name="connsiteX749" fmla="*/ 2900000 w 12192003"/>
              <a:gd name="connsiteY749" fmla="*/ 428644 h 6857987"/>
              <a:gd name="connsiteX750" fmla="*/ 2876319 w 12192003"/>
              <a:gd name="connsiteY750" fmla="*/ 455400 h 6857987"/>
              <a:gd name="connsiteX751" fmla="*/ 2876319 w 12192003"/>
              <a:gd name="connsiteY751" fmla="*/ 424821 h 6857987"/>
              <a:gd name="connsiteX752" fmla="*/ 2833693 w 12192003"/>
              <a:gd name="connsiteY752" fmla="*/ 424821 h 6857987"/>
              <a:gd name="connsiteX753" fmla="*/ 2833693 w 12192003"/>
              <a:gd name="connsiteY753" fmla="*/ 615938 h 6857987"/>
              <a:gd name="connsiteX754" fmla="*/ 2877740 w 12192003"/>
              <a:gd name="connsiteY754" fmla="*/ 615938 h 6857987"/>
              <a:gd name="connsiteX755" fmla="*/ 2877740 w 12192003"/>
              <a:gd name="connsiteY755" fmla="*/ 512257 h 6857987"/>
              <a:gd name="connsiteX756" fmla="*/ 2889581 w 12192003"/>
              <a:gd name="connsiteY756" fmla="*/ 472600 h 6857987"/>
              <a:gd name="connsiteX757" fmla="*/ 2922733 w 12192003"/>
              <a:gd name="connsiteY757" fmla="*/ 458744 h 6857987"/>
              <a:gd name="connsiteX758" fmla="*/ 2960622 w 12192003"/>
              <a:gd name="connsiteY758" fmla="*/ 508435 h 6857987"/>
              <a:gd name="connsiteX759" fmla="*/ 2960622 w 12192003"/>
              <a:gd name="connsiteY759" fmla="*/ 615938 h 6857987"/>
              <a:gd name="connsiteX760" fmla="*/ 3005143 w 12192003"/>
              <a:gd name="connsiteY760" fmla="*/ 615938 h 6857987"/>
              <a:gd name="connsiteX761" fmla="*/ 3005143 w 12192003"/>
              <a:gd name="connsiteY761" fmla="*/ 500312 h 6857987"/>
              <a:gd name="connsiteX762" fmla="*/ 2987146 w 12192003"/>
              <a:gd name="connsiteY762" fmla="*/ 440111 h 6857987"/>
              <a:gd name="connsiteX763" fmla="*/ 2936942 w 12192003"/>
              <a:gd name="connsiteY763" fmla="*/ 419088 h 6857987"/>
              <a:gd name="connsiteX764" fmla="*/ 2494307 w 12192003"/>
              <a:gd name="connsiteY764" fmla="*/ 419088 h 6857987"/>
              <a:gd name="connsiteX765" fmla="*/ 2454998 w 12192003"/>
              <a:gd name="connsiteY765" fmla="*/ 428625 h 6857987"/>
              <a:gd name="connsiteX766" fmla="*/ 2427056 w 12192003"/>
              <a:gd name="connsiteY766" fmla="*/ 457234 h 6857987"/>
              <a:gd name="connsiteX767" fmla="*/ 2426582 w 12192003"/>
              <a:gd name="connsiteY767" fmla="*/ 424810 h 6857987"/>
              <a:gd name="connsiteX768" fmla="*/ 2384431 w 12192003"/>
              <a:gd name="connsiteY768" fmla="*/ 424810 h 6857987"/>
              <a:gd name="connsiteX769" fmla="*/ 2384431 w 12192003"/>
              <a:gd name="connsiteY769" fmla="*/ 684201 h 6857987"/>
              <a:gd name="connsiteX770" fmla="*/ 2428476 w 12192003"/>
              <a:gd name="connsiteY770" fmla="*/ 684201 h 6857987"/>
              <a:gd name="connsiteX771" fmla="*/ 2428476 w 12192003"/>
              <a:gd name="connsiteY771" fmla="*/ 586453 h 6857987"/>
              <a:gd name="connsiteX772" fmla="*/ 2454998 w 12192003"/>
              <a:gd name="connsiteY772" fmla="*/ 612201 h 6857987"/>
              <a:gd name="connsiteX773" fmla="*/ 2491466 w 12192003"/>
              <a:gd name="connsiteY773" fmla="*/ 621261 h 6857987"/>
              <a:gd name="connsiteX774" fmla="*/ 2526985 w 12192003"/>
              <a:gd name="connsiteY774" fmla="*/ 613632 h 6857987"/>
              <a:gd name="connsiteX775" fmla="*/ 2555875 w 12192003"/>
              <a:gd name="connsiteY775" fmla="*/ 592175 h 6857987"/>
              <a:gd name="connsiteX776" fmla="*/ 2575766 w 12192003"/>
              <a:gd name="connsiteY776" fmla="*/ 559751 h 6857987"/>
              <a:gd name="connsiteX777" fmla="*/ 2582870 w 12192003"/>
              <a:gd name="connsiteY777" fmla="*/ 519698 h 6857987"/>
              <a:gd name="connsiteX778" fmla="*/ 2571503 w 12192003"/>
              <a:gd name="connsiteY778" fmla="*/ 467724 h 6857987"/>
              <a:gd name="connsiteX779" fmla="*/ 2540245 w 12192003"/>
              <a:gd name="connsiteY779" fmla="*/ 431963 h 6857987"/>
              <a:gd name="connsiteX780" fmla="*/ 2494307 w 12192003"/>
              <a:gd name="connsiteY780" fmla="*/ 419088 h 6857987"/>
              <a:gd name="connsiteX781" fmla="*/ 2095707 w 12192003"/>
              <a:gd name="connsiteY781" fmla="*/ 419088 h 6857987"/>
              <a:gd name="connsiteX782" fmla="*/ 2059921 w 12192003"/>
              <a:gd name="connsiteY782" fmla="*/ 424319 h 6857987"/>
              <a:gd name="connsiteX783" fmla="*/ 2029785 w 12192003"/>
              <a:gd name="connsiteY783" fmla="*/ 437157 h 6857987"/>
              <a:gd name="connsiteX784" fmla="*/ 2029785 w 12192003"/>
              <a:gd name="connsiteY784" fmla="*/ 476149 h 6857987"/>
              <a:gd name="connsiteX785" fmla="*/ 2059921 w 12192003"/>
              <a:gd name="connsiteY785" fmla="*/ 461884 h 6857987"/>
              <a:gd name="connsiteX786" fmla="*/ 2091469 w 12192003"/>
              <a:gd name="connsiteY786" fmla="*/ 456653 h 6857987"/>
              <a:gd name="connsiteX787" fmla="*/ 2130082 w 12192003"/>
              <a:gd name="connsiteY787" fmla="*/ 469492 h 6857987"/>
              <a:gd name="connsiteX788" fmla="*/ 2142325 w 12192003"/>
              <a:gd name="connsiteY788" fmla="*/ 505630 h 6857987"/>
              <a:gd name="connsiteX789" fmla="*/ 2142325 w 12192003"/>
              <a:gd name="connsiteY789" fmla="*/ 506581 h 6857987"/>
              <a:gd name="connsiteX790" fmla="*/ 2092882 w 12192003"/>
              <a:gd name="connsiteY790" fmla="*/ 497071 h 6857987"/>
              <a:gd name="connsiteX791" fmla="*/ 2052387 w 12192003"/>
              <a:gd name="connsiteY791" fmla="*/ 505154 h 6857987"/>
              <a:gd name="connsiteX792" fmla="*/ 2026018 w 12192003"/>
              <a:gd name="connsiteY792" fmla="*/ 527503 h 6857987"/>
              <a:gd name="connsiteX793" fmla="*/ 2016130 w 12192003"/>
              <a:gd name="connsiteY793" fmla="*/ 561264 h 6857987"/>
              <a:gd name="connsiteX794" fmla="*/ 2034023 w 12192003"/>
              <a:gd name="connsiteY794" fmla="*/ 604534 h 6857987"/>
              <a:gd name="connsiteX795" fmla="*/ 2081110 w 12192003"/>
              <a:gd name="connsiteY795" fmla="*/ 620701 h 6857987"/>
              <a:gd name="connsiteX796" fmla="*/ 2119252 w 12192003"/>
              <a:gd name="connsiteY796" fmla="*/ 611667 h 6857987"/>
              <a:gd name="connsiteX797" fmla="*/ 2143738 w 12192003"/>
              <a:gd name="connsiteY797" fmla="*/ 587416 h 6857987"/>
              <a:gd name="connsiteX798" fmla="*/ 2144679 w 12192003"/>
              <a:gd name="connsiteY798" fmla="*/ 614995 h 6857987"/>
              <a:gd name="connsiteX799" fmla="*/ 2182820 w 12192003"/>
              <a:gd name="connsiteY799" fmla="*/ 614995 h 6857987"/>
              <a:gd name="connsiteX800" fmla="*/ 2182820 w 12192003"/>
              <a:gd name="connsiteY800" fmla="*/ 502777 h 6857987"/>
              <a:gd name="connsiteX801" fmla="*/ 2160218 w 12192003"/>
              <a:gd name="connsiteY801" fmla="*/ 440486 h 6857987"/>
              <a:gd name="connsiteX802" fmla="*/ 2095707 w 12192003"/>
              <a:gd name="connsiteY802" fmla="*/ 419088 h 6857987"/>
              <a:gd name="connsiteX803" fmla="*/ 4340657 w 12192003"/>
              <a:gd name="connsiteY803" fmla="*/ 417502 h 6857987"/>
              <a:gd name="connsiteX804" fmla="*/ 4304770 w 12192003"/>
              <a:gd name="connsiteY804" fmla="*/ 422774 h 6857987"/>
              <a:gd name="connsiteX805" fmla="*/ 4274547 w 12192003"/>
              <a:gd name="connsiteY805" fmla="*/ 435713 h 6857987"/>
              <a:gd name="connsiteX806" fmla="*/ 4274547 w 12192003"/>
              <a:gd name="connsiteY806" fmla="*/ 475491 h 6857987"/>
              <a:gd name="connsiteX807" fmla="*/ 4304770 w 12192003"/>
              <a:gd name="connsiteY807" fmla="*/ 460634 h 6857987"/>
              <a:gd name="connsiteX808" fmla="*/ 4335936 w 12192003"/>
              <a:gd name="connsiteY808" fmla="*/ 455841 h 6857987"/>
              <a:gd name="connsiteX809" fmla="*/ 4374655 w 12192003"/>
              <a:gd name="connsiteY809" fmla="*/ 468302 h 6857987"/>
              <a:gd name="connsiteX810" fmla="*/ 4387405 w 12192003"/>
              <a:gd name="connsiteY810" fmla="*/ 505204 h 6857987"/>
              <a:gd name="connsiteX811" fmla="*/ 4387405 w 12192003"/>
              <a:gd name="connsiteY811" fmla="*/ 505683 h 6857987"/>
              <a:gd name="connsiteX812" fmla="*/ 4337823 w 12192003"/>
              <a:gd name="connsiteY812" fmla="*/ 496098 h 6857987"/>
              <a:gd name="connsiteX813" fmla="*/ 4297213 w 12192003"/>
              <a:gd name="connsiteY813" fmla="*/ 504245 h 6857987"/>
              <a:gd name="connsiteX814" fmla="*/ 4270298 w 12192003"/>
              <a:gd name="connsiteY814" fmla="*/ 526770 h 6857987"/>
              <a:gd name="connsiteX815" fmla="*/ 4260855 w 12192003"/>
              <a:gd name="connsiteY815" fmla="*/ 560796 h 6857987"/>
              <a:gd name="connsiteX816" fmla="*/ 4278798 w 12192003"/>
              <a:gd name="connsiteY816" fmla="*/ 604407 h 6857987"/>
              <a:gd name="connsiteX817" fmla="*/ 4326018 w 12192003"/>
              <a:gd name="connsiteY817" fmla="*/ 620702 h 6857987"/>
              <a:gd name="connsiteX818" fmla="*/ 4363794 w 12192003"/>
              <a:gd name="connsiteY818" fmla="*/ 611596 h 6857987"/>
              <a:gd name="connsiteX819" fmla="*/ 4388824 w 12192003"/>
              <a:gd name="connsiteY819" fmla="*/ 587155 h 6857987"/>
              <a:gd name="connsiteX820" fmla="*/ 4389293 w 12192003"/>
              <a:gd name="connsiteY820" fmla="*/ 614951 h 6857987"/>
              <a:gd name="connsiteX821" fmla="*/ 4427543 w 12192003"/>
              <a:gd name="connsiteY821" fmla="*/ 614951 h 6857987"/>
              <a:gd name="connsiteX822" fmla="*/ 4427543 w 12192003"/>
              <a:gd name="connsiteY822" fmla="*/ 502328 h 6857987"/>
              <a:gd name="connsiteX823" fmla="*/ 4405349 w 12192003"/>
              <a:gd name="connsiteY823" fmla="*/ 439547 h 6857987"/>
              <a:gd name="connsiteX824" fmla="*/ 4340657 w 12192003"/>
              <a:gd name="connsiteY824" fmla="*/ 417502 h 6857987"/>
              <a:gd name="connsiteX825" fmla="*/ 4696607 w 12192003"/>
              <a:gd name="connsiteY825" fmla="*/ 417500 h 6857987"/>
              <a:gd name="connsiteX826" fmla="*/ 4643620 w 12192003"/>
              <a:gd name="connsiteY826" fmla="*/ 433315 h 6857987"/>
              <a:gd name="connsiteX827" fmla="*/ 4624223 w 12192003"/>
              <a:gd name="connsiteY827" fmla="*/ 475489 h 6857987"/>
              <a:gd name="connsiteX828" fmla="*/ 4637942 w 12192003"/>
              <a:gd name="connsiteY828" fmla="*/ 512391 h 6857987"/>
              <a:gd name="connsiteX829" fmla="*/ 4682886 w 12192003"/>
              <a:gd name="connsiteY829" fmla="*/ 536353 h 6857987"/>
              <a:gd name="connsiteX830" fmla="*/ 4714112 w 12192003"/>
              <a:gd name="connsiteY830" fmla="*/ 549293 h 6857987"/>
              <a:gd name="connsiteX831" fmla="*/ 4722154 w 12192003"/>
              <a:gd name="connsiteY831" fmla="*/ 563670 h 6857987"/>
              <a:gd name="connsiteX832" fmla="*/ 4713164 w 12192003"/>
              <a:gd name="connsiteY832" fmla="*/ 579006 h 6857987"/>
              <a:gd name="connsiteX833" fmla="*/ 4685252 w 12192003"/>
              <a:gd name="connsiteY833" fmla="*/ 583798 h 6857987"/>
              <a:gd name="connsiteX834" fmla="*/ 4622803 w 12192003"/>
              <a:gd name="connsiteY834" fmla="*/ 562712 h 6857987"/>
              <a:gd name="connsiteX835" fmla="*/ 4622803 w 12192003"/>
              <a:gd name="connsiteY835" fmla="*/ 602010 h 6857987"/>
              <a:gd name="connsiteX836" fmla="*/ 4642201 w 12192003"/>
              <a:gd name="connsiteY836" fmla="*/ 611595 h 6857987"/>
              <a:gd name="connsiteX837" fmla="*/ 4664910 w 12192003"/>
              <a:gd name="connsiteY837" fmla="*/ 618304 h 6857987"/>
              <a:gd name="connsiteX838" fmla="*/ 4687143 w 12192003"/>
              <a:gd name="connsiteY838" fmla="*/ 620700 h 6857987"/>
              <a:gd name="connsiteX839" fmla="*/ 4744390 w 12192003"/>
              <a:gd name="connsiteY839" fmla="*/ 605364 h 6857987"/>
              <a:gd name="connsiteX840" fmla="*/ 4765678 w 12192003"/>
              <a:gd name="connsiteY840" fmla="*/ 562712 h 6857987"/>
              <a:gd name="connsiteX841" fmla="*/ 4759529 w 12192003"/>
              <a:gd name="connsiteY841" fmla="*/ 535395 h 6857987"/>
              <a:gd name="connsiteX842" fmla="*/ 4739658 w 12192003"/>
              <a:gd name="connsiteY842" fmla="*/ 515266 h 6857987"/>
              <a:gd name="connsiteX843" fmla="*/ 4701338 w 12192003"/>
              <a:gd name="connsiteY843" fmla="*/ 498493 h 6857987"/>
              <a:gd name="connsiteX844" fmla="*/ 4679575 w 12192003"/>
              <a:gd name="connsiteY844" fmla="*/ 490345 h 6857987"/>
              <a:gd name="connsiteX845" fmla="*/ 4669642 w 12192003"/>
              <a:gd name="connsiteY845" fmla="*/ 482678 h 6857987"/>
              <a:gd name="connsiteX846" fmla="*/ 4666800 w 12192003"/>
              <a:gd name="connsiteY846" fmla="*/ 473093 h 6857987"/>
              <a:gd name="connsiteX847" fmla="*/ 4697553 w 12192003"/>
              <a:gd name="connsiteY847" fmla="*/ 454402 h 6857987"/>
              <a:gd name="connsiteX848" fmla="*/ 4727358 w 12192003"/>
              <a:gd name="connsiteY848" fmla="*/ 459674 h 6857987"/>
              <a:gd name="connsiteX849" fmla="*/ 4754325 w 12192003"/>
              <a:gd name="connsiteY849" fmla="*/ 472613 h 6857987"/>
              <a:gd name="connsiteX850" fmla="*/ 4754325 w 12192003"/>
              <a:gd name="connsiteY850" fmla="*/ 433315 h 6857987"/>
              <a:gd name="connsiteX851" fmla="*/ 4725465 w 12192003"/>
              <a:gd name="connsiteY851" fmla="*/ 421813 h 6857987"/>
              <a:gd name="connsiteX852" fmla="*/ 4696607 w 12192003"/>
              <a:gd name="connsiteY852" fmla="*/ 417500 h 6857987"/>
              <a:gd name="connsiteX853" fmla="*/ 3728959 w 12192003"/>
              <a:gd name="connsiteY853" fmla="*/ 400036 h 6857987"/>
              <a:gd name="connsiteX854" fmla="*/ 3748430 w 12192003"/>
              <a:gd name="connsiteY854" fmla="*/ 407587 h 6857987"/>
              <a:gd name="connsiteX855" fmla="*/ 3756028 w 12192003"/>
              <a:gd name="connsiteY855" fmla="*/ 426938 h 6857987"/>
              <a:gd name="connsiteX856" fmla="*/ 3747955 w 12192003"/>
              <a:gd name="connsiteY856" fmla="*/ 449592 h 6857987"/>
              <a:gd name="connsiteX857" fmla="*/ 3722785 w 12192003"/>
              <a:gd name="connsiteY857" fmla="*/ 469886 h 6857987"/>
              <a:gd name="connsiteX858" fmla="*/ 3705214 w 12192003"/>
              <a:gd name="connsiteY858" fmla="*/ 445344 h 6857987"/>
              <a:gd name="connsiteX859" fmla="*/ 3700465 w 12192003"/>
              <a:gd name="connsiteY859" fmla="*/ 426466 h 6857987"/>
              <a:gd name="connsiteX860" fmla="*/ 3708539 w 12192003"/>
              <a:gd name="connsiteY860" fmla="*/ 407587 h 6857987"/>
              <a:gd name="connsiteX861" fmla="*/ 3728959 w 12192003"/>
              <a:gd name="connsiteY861" fmla="*/ 400036 h 6857987"/>
              <a:gd name="connsiteX862" fmla="*/ 3070939 w 12192003"/>
              <a:gd name="connsiteY862" fmla="*/ 376226 h 6857987"/>
              <a:gd name="connsiteX863" fmla="*/ 3070939 w 12192003"/>
              <a:gd name="connsiteY863" fmla="*/ 427317 h 6857987"/>
              <a:gd name="connsiteX864" fmla="*/ 3032129 w 12192003"/>
              <a:gd name="connsiteY864" fmla="*/ 427317 h 6857987"/>
              <a:gd name="connsiteX865" fmla="*/ 3032129 w 12192003"/>
              <a:gd name="connsiteY865" fmla="*/ 464561 h 6857987"/>
              <a:gd name="connsiteX866" fmla="*/ 3070939 w 12192003"/>
              <a:gd name="connsiteY866" fmla="*/ 464561 h 6857987"/>
              <a:gd name="connsiteX867" fmla="*/ 3070939 w 12192003"/>
              <a:gd name="connsiteY867" fmla="*/ 544780 h 6857987"/>
              <a:gd name="connsiteX868" fmla="*/ 3087031 w 12192003"/>
              <a:gd name="connsiteY868" fmla="*/ 601124 h 6857987"/>
              <a:gd name="connsiteX869" fmla="*/ 3136728 w 12192003"/>
              <a:gd name="connsiteY869" fmla="*/ 620701 h 6857987"/>
              <a:gd name="connsiteX870" fmla="*/ 3161339 w 12192003"/>
              <a:gd name="connsiteY870" fmla="*/ 617836 h 6857987"/>
              <a:gd name="connsiteX871" fmla="*/ 3184531 w 12192003"/>
              <a:gd name="connsiteY871" fmla="*/ 609718 h 6857987"/>
              <a:gd name="connsiteX872" fmla="*/ 3184531 w 12192003"/>
              <a:gd name="connsiteY872" fmla="*/ 569132 h 6857987"/>
              <a:gd name="connsiteX873" fmla="*/ 3165599 w 12192003"/>
              <a:gd name="connsiteY873" fmla="*/ 577249 h 6857987"/>
              <a:gd name="connsiteX874" fmla="*/ 3144774 w 12192003"/>
              <a:gd name="connsiteY874" fmla="*/ 580592 h 6857987"/>
              <a:gd name="connsiteX875" fmla="*/ 3122529 w 12192003"/>
              <a:gd name="connsiteY875" fmla="*/ 571519 h 6857987"/>
              <a:gd name="connsiteX876" fmla="*/ 3115430 w 12192003"/>
              <a:gd name="connsiteY876" fmla="*/ 540960 h 6857987"/>
              <a:gd name="connsiteX877" fmla="*/ 3115430 w 12192003"/>
              <a:gd name="connsiteY877" fmla="*/ 464561 h 6857987"/>
              <a:gd name="connsiteX878" fmla="*/ 3176957 w 12192003"/>
              <a:gd name="connsiteY878" fmla="*/ 464561 h 6857987"/>
              <a:gd name="connsiteX879" fmla="*/ 3176957 w 12192003"/>
              <a:gd name="connsiteY879" fmla="*/ 427317 h 6857987"/>
              <a:gd name="connsiteX880" fmla="*/ 3115430 w 12192003"/>
              <a:gd name="connsiteY880" fmla="*/ 427317 h 6857987"/>
              <a:gd name="connsiteX881" fmla="*/ 3115430 w 12192003"/>
              <a:gd name="connsiteY881" fmla="*/ 376226 h 6857987"/>
              <a:gd name="connsiteX882" fmla="*/ 3070939 w 12192003"/>
              <a:gd name="connsiteY882" fmla="*/ 376226 h 6857987"/>
              <a:gd name="connsiteX883" fmla="*/ 3728339 w 12192003"/>
              <a:gd name="connsiteY883" fmla="*/ 366702 h 6857987"/>
              <a:gd name="connsiteX884" fmla="*/ 3692478 w 12192003"/>
              <a:gd name="connsiteY884" fmla="*/ 374354 h 6857987"/>
              <a:gd name="connsiteX885" fmla="*/ 3668412 w 12192003"/>
              <a:gd name="connsiteY885" fmla="*/ 394920 h 6857987"/>
              <a:gd name="connsiteX886" fmla="*/ 3659919 w 12192003"/>
              <a:gd name="connsiteY886" fmla="*/ 426007 h 6857987"/>
              <a:gd name="connsiteX887" fmla="*/ 3662278 w 12192003"/>
              <a:gd name="connsiteY887" fmla="*/ 445616 h 6857987"/>
              <a:gd name="connsiteX888" fmla="*/ 3671244 w 12192003"/>
              <a:gd name="connsiteY888" fmla="*/ 465225 h 6857987"/>
              <a:gd name="connsiteX889" fmla="*/ 3688231 w 12192003"/>
              <a:gd name="connsiteY889" fmla="*/ 488181 h 6857987"/>
              <a:gd name="connsiteX890" fmla="*/ 3648121 w 12192003"/>
              <a:gd name="connsiteY890" fmla="*/ 519269 h 6857987"/>
              <a:gd name="connsiteX891" fmla="*/ 3635382 w 12192003"/>
              <a:gd name="connsiteY891" fmla="*/ 558965 h 6857987"/>
              <a:gd name="connsiteX892" fmla="*/ 3646234 w 12192003"/>
              <a:gd name="connsiteY892" fmla="*/ 596748 h 6857987"/>
              <a:gd name="connsiteX893" fmla="*/ 3676435 w 12192003"/>
              <a:gd name="connsiteY893" fmla="*/ 621618 h 6857987"/>
              <a:gd name="connsiteX894" fmla="*/ 3721733 w 12192003"/>
              <a:gd name="connsiteY894" fmla="*/ 630227 h 6857987"/>
              <a:gd name="connsiteX895" fmla="*/ 3759482 w 12192003"/>
              <a:gd name="connsiteY895" fmla="*/ 624488 h 6857987"/>
              <a:gd name="connsiteX896" fmla="*/ 3792041 w 12192003"/>
              <a:gd name="connsiteY896" fmla="*/ 608227 h 6857987"/>
              <a:gd name="connsiteX897" fmla="*/ 3805726 w 12192003"/>
              <a:gd name="connsiteY897" fmla="*/ 624488 h 6857987"/>
              <a:gd name="connsiteX898" fmla="*/ 3857630 w 12192003"/>
              <a:gd name="connsiteY898" fmla="*/ 624488 h 6857987"/>
              <a:gd name="connsiteX899" fmla="*/ 3819409 w 12192003"/>
              <a:gd name="connsiteY899" fmla="*/ 580487 h 6857987"/>
              <a:gd name="connsiteX900" fmla="*/ 3837812 w 12192003"/>
              <a:gd name="connsiteY900" fmla="*/ 543182 h 6857987"/>
              <a:gd name="connsiteX901" fmla="*/ 3845835 w 12192003"/>
              <a:gd name="connsiteY901" fmla="*/ 497747 h 6857987"/>
              <a:gd name="connsiteX902" fmla="*/ 3809028 w 12192003"/>
              <a:gd name="connsiteY902" fmla="*/ 493921 h 6857987"/>
              <a:gd name="connsiteX903" fmla="*/ 3804782 w 12192003"/>
              <a:gd name="connsiteY903" fmla="*/ 525486 h 6857987"/>
              <a:gd name="connsiteX904" fmla="*/ 3793928 w 12192003"/>
              <a:gd name="connsiteY904" fmla="*/ 551313 h 6857987"/>
              <a:gd name="connsiteX905" fmla="*/ 3742967 w 12192003"/>
              <a:gd name="connsiteY905" fmla="*/ 492964 h 6857987"/>
              <a:gd name="connsiteX906" fmla="*/ 3795816 w 12192003"/>
              <a:gd name="connsiteY906" fmla="*/ 424572 h 6857987"/>
              <a:gd name="connsiteX907" fmla="*/ 3787322 w 12192003"/>
              <a:gd name="connsiteY907" fmla="*/ 394441 h 6857987"/>
              <a:gd name="connsiteX908" fmla="*/ 3763258 w 12192003"/>
              <a:gd name="connsiteY908" fmla="*/ 374354 h 6857987"/>
              <a:gd name="connsiteX909" fmla="*/ 3728339 w 12192003"/>
              <a:gd name="connsiteY909" fmla="*/ 366702 h 6857987"/>
              <a:gd name="connsiteX910" fmla="*/ 4803778 w 12192003"/>
              <a:gd name="connsiteY910" fmla="*/ 363525 h 6857987"/>
              <a:gd name="connsiteX911" fmla="*/ 4803778 w 12192003"/>
              <a:gd name="connsiteY911" fmla="*/ 614350 h 6857987"/>
              <a:gd name="connsiteX912" fmla="*/ 4847827 w 12192003"/>
              <a:gd name="connsiteY912" fmla="*/ 614350 h 6857987"/>
              <a:gd name="connsiteX913" fmla="*/ 4847827 w 12192003"/>
              <a:gd name="connsiteY913" fmla="*/ 510873 h 6857987"/>
              <a:gd name="connsiteX914" fmla="*/ 4860140 w 12192003"/>
              <a:gd name="connsiteY914" fmla="*/ 471771 h 6857987"/>
              <a:gd name="connsiteX915" fmla="*/ 4892818 w 12192003"/>
              <a:gd name="connsiteY915" fmla="*/ 457465 h 6857987"/>
              <a:gd name="connsiteX916" fmla="*/ 4930708 w 12192003"/>
              <a:gd name="connsiteY916" fmla="*/ 507535 h 6857987"/>
              <a:gd name="connsiteX917" fmla="*/ 4930708 w 12192003"/>
              <a:gd name="connsiteY917" fmla="*/ 614350 h 6857987"/>
              <a:gd name="connsiteX918" fmla="*/ 4975227 w 12192003"/>
              <a:gd name="connsiteY918" fmla="*/ 614350 h 6857987"/>
              <a:gd name="connsiteX919" fmla="*/ 4975227 w 12192003"/>
              <a:gd name="connsiteY919" fmla="*/ 498952 h 6857987"/>
              <a:gd name="connsiteX920" fmla="*/ 4957703 w 12192003"/>
              <a:gd name="connsiteY920" fmla="*/ 438868 h 6857987"/>
              <a:gd name="connsiteX921" fmla="*/ 4907027 w 12192003"/>
              <a:gd name="connsiteY921" fmla="*/ 417886 h 6857987"/>
              <a:gd name="connsiteX922" fmla="*/ 4871505 w 12192003"/>
              <a:gd name="connsiteY922" fmla="*/ 426470 h 6857987"/>
              <a:gd name="connsiteX923" fmla="*/ 4847827 w 12192003"/>
              <a:gd name="connsiteY923" fmla="*/ 451266 h 6857987"/>
              <a:gd name="connsiteX924" fmla="*/ 4847827 w 12192003"/>
              <a:gd name="connsiteY924" fmla="*/ 363525 h 6857987"/>
              <a:gd name="connsiteX925" fmla="*/ 4803778 w 12192003"/>
              <a:gd name="connsiteY925" fmla="*/ 363525 h 6857987"/>
              <a:gd name="connsiteX926" fmla="*/ 3954467 w 12192003"/>
              <a:gd name="connsiteY926" fmla="*/ 363525 h 6857987"/>
              <a:gd name="connsiteX927" fmla="*/ 3954467 w 12192003"/>
              <a:gd name="connsiteY927" fmla="*/ 614350 h 6857987"/>
              <a:gd name="connsiteX928" fmla="*/ 3998918 w 12192003"/>
              <a:gd name="connsiteY928" fmla="*/ 614350 h 6857987"/>
              <a:gd name="connsiteX929" fmla="*/ 3998918 w 12192003"/>
              <a:gd name="connsiteY929" fmla="*/ 433375 h 6857987"/>
              <a:gd name="connsiteX930" fmla="*/ 4087817 w 12192003"/>
              <a:gd name="connsiteY930" fmla="*/ 571488 h 6857987"/>
              <a:gd name="connsiteX931" fmla="*/ 4176717 w 12192003"/>
              <a:gd name="connsiteY931" fmla="*/ 433375 h 6857987"/>
              <a:gd name="connsiteX932" fmla="*/ 4176717 w 12192003"/>
              <a:gd name="connsiteY932" fmla="*/ 614350 h 6857987"/>
              <a:gd name="connsiteX933" fmla="*/ 4222754 w 12192003"/>
              <a:gd name="connsiteY933" fmla="*/ 614350 h 6857987"/>
              <a:gd name="connsiteX934" fmla="*/ 4222754 w 12192003"/>
              <a:gd name="connsiteY934" fmla="*/ 363525 h 6857987"/>
              <a:gd name="connsiteX935" fmla="*/ 4175131 w 12192003"/>
              <a:gd name="connsiteY935" fmla="*/ 363525 h 6857987"/>
              <a:gd name="connsiteX936" fmla="*/ 4087817 w 12192003"/>
              <a:gd name="connsiteY936" fmla="*/ 498463 h 6857987"/>
              <a:gd name="connsiteX937" fmla="*/ 4002092 w 12192003"/>
              <a:gd name="connsiteY937" fmla="*/ 363525 h 6857987"/>
              <a:gd name="connsiteX938" fmla="*/ 1903703 w 12192003"/>
              <a:gd name="connsiteY938" fmla="*/ 357176 h 6857987"/>
              <a:gd name="connsiteX939" fmla="*/ 1849139 w 12192003"/>
              <a:gd name="connsiteY939" fmla="*/ 366741 h 6857987"/>
              <a:gd name="connsiteX940" fmla="*/ 1806437 w 12192003"/>
              <a:gd name="connsiteY940" fmla="*/ 394003 h 6857987"/>
              <a:gd name="connsiteX941" fmla="*/ 1778444 w 12192003"/>
              <a:gd name="connsiteY941" fmla="*/ 435612 h 6857987"/>
              <a:gd name="connsiteX942" fmla="*/ 1768480 w 12192003"/>
              <a:gd name="connsiteY942" fmla="*/ 489178 h 6857987"/>
              <a:gd name="connsiteX943" fmla="*/ 1785086 w 12192003"/>
              <a:gd name="connsiteY943" fmla="*/ 558526 h 6857987"/>
              <a:gd name="connsiteX944" fmla="*/ 1831584 w 12192003"/>
              <a:gd name="connsiteY944" fmla="*/ 604440 h 6857987"/>
              <a:gd name="connsiteX945" fmla="*/ 1900856 w 12192003"/>
              <a:gd name="connsiteY945" fmla="*/ 620701 h 6857987"/>
              <a:gd name="connsiteX946" fmla="*/ 1942609 w 12192003"/>
              <a:gd name="connsiteY946" fmla="*/ 615918 h 6857987"/>
              <a:gd name="connsiteX947" fmla="*/ 1979618 w 12192003"/>
              <a:gd name="connsiteY947" fmla="*/ 602527 h 6857987"/>
              <a:gd name="connsiteX948" fmla="*/ 1979618 w 12192003"/>
              <a:gd name="connsiteY948" fmla="*/ 559961 h 6857987"/>
              <a:gd name="connsiteX949" fmla="*/ 1942135 w 12192003"/>
              <a:gd name="connsiteY949" fmla="*/ 573353 h 6857987"/>
              <a:gd name="connsiteX950" fmla="*/ 1904652 w 12192003"/>
              <a:gd name="connsiteY950" fmla="*/ 578614 h 6857987"/>
              <a:gd name="connsiteX951" fmla="*/ 1857679 w 12192003"/>
              <a:gd name="connsiteY951" fmla="*/ 567613 h 6857987"/>
              <a:gd name="connsiteX952" fmla="*/ 1826839 w 12192003"/>
              <a:gd name="connsiteY952" fmla="*/ 536526 h 6857987"/>
              <a:gd name="connsiteX953" fmla="*/ 1815926 w 12192003"/>
              <a:gd name="connsiteY953" fmla="*/ 488699 h 6857987"/>
              <a:gd name="connsiteX954" fmla="*/ 1827314 w 12192003"/>
              <a:gd name="connsiteY954" fmla="*/ 441829 h 6857987"/>
              <a:gd name="connsiteX955" fmla="*/ 1857679 w 12192003"/>
              <a:gd name="connsiteY955" fmla="*/ 410742 h 6857987"/>
              <a:gd name="connsiteX956" fmla="*/ 1903703 w 12192003"/>
              <a:gd name="connsiteY956" fmla="*/ 399742 h 6857987"/>
              <a:gd name="connsiteX957" fmla="*/ 1940237 w 12192003"/>
              <a:gd name="connsiteY957" fmla="*/ 404524 h 6857987"/>
              <a:gd name="connsiteX958" fmla="*/ 1979618 w 12192003"/>
              <a:gd name="connsiteY958" fmla="*/ 420307 h 6857987"/>
              <a:gd name="connsiteX959" fmla="*/ 1979618 w 12192003"/>
              <a:gd name="connsiteY959" fmla="*/ 375828 h 6857987"/>
              <a:gd name="connsiteX960" fmla="*/ 1944507 w 12192003"/>
              <a:gd name="connsiteY960" fmla="*/ 362437 h 6857987"/>
              <a:gd name="connsiteX961" fmla="*/ 1903703 w 12192003"/>
              <a:gd name="connsiteY961" fmla="*/ 357176 h 6857987"/>
              <a:gd name="connsiteX962" fmla="*/ 1203606 w 12192003"/>
              <a:gd name="connsiteY962" fmla="*/ 357176 h 6857987"/>
              <a:gd name="connsiteX963" fmla="*/ 1131342 w 12192003"/>
              <a:gd name="connsiteY963" fmla="*/ 373916 h 6857987"/>
              <a:gd name="connsiteX964" fmla="*/ 1082694 w 12192003"/>
              <a:gd name="connsiteY964" fmla="*/ 420307 h 6857987"/>
              <a:gd name="connsiteX965" fmla="*/ 1065218 w 12192003"/>
              <a:gd name="connsiteY965" fmla="*/ 489656 h 6857987"/>
              <a:gd name="connsiteX966" fmla="*/ 1081749 w 12192003"/>
              <a:gd name="connsiteY966" fmla="*/ 559005 h 6857987"/>
              <a:gd name="connsiteX967" fmla="*/ 1128981 w 12192003"/>
              <a:gd name="connsiteY967" fmla="*/ 604918 h 6857987"/>
              <a:gd name="connsiteX968" fmla="*/ 1199828 w 12192003"/>
              <a:gd name="connsiteY968" fmla="*/ 620701 h 6857987"/>
              <a:gd name="connsiteX969" fmla="*/ 1293818 w 12192003"/>
              <a:gd name="connsiteY969" fmla="*/ 602049 h 6857987"/>
              <a:gd name="connsiteX970" fmla="*/ 1293818 w 12192003"/>
              <a:gd name="connsiteY970" fmla="*/ 476265 h 6857987"/>
              <a:gd name="connsiteX971" fmla="*/ 1200300 w 12192003"/>
              <a:gd name="connsiteY971" fmla="*/ 476265 h 6857987"/>
              <a:gd name="connsiteX972" fmla="*/ 1200300 w 12192003"/>
              <a:gd name="connsiteY972" fmla="*/ 516439 h 6857987"/>
              <a:gd name="connsiteX973" fmla="*/ 1251782 w 12192003"/>
              <a:gd name="connsiteY973" fmla="*/ 516439 h 6857987"/>
              <a:gd name="connsiteX974" fmla="*/ 1251782 w 12192003"/>
              <a:gd name="connsiteY974" fmla="*/ 571918 h 6857987"/>
              <a:gd name="connsiteX975" fmla="*/ 1202189 w 12192003"/>
              <a:gd name="connsiteY975" fmla="*/ 578614 h 6857987"/>
              <a:gd name="connsiteX976" fmla="*/ 1154013 w 12192003"/>
              <a:gd name="connsiteY976" fmla="*/ 568092 h 6857987"/>
              <a:gd name="connsiteX977" fmla="*/ 1122841 w 12192003"/>
              <a:gd name="connsiteY977" fmla="*/ 537005 h 6857987"/>
              <a:gd name="connsiteX978" fmla="*/ 1111977 w 12192003"/>
              <a:gd name="connsiteY978" fmla="*/ 489178 h 6857987"/>
              <a:gd name="connsiteX979" fmla="*/ 1122841 w 12192003"/>
              <a:gd name="connsiteY979" fmla="*/ 441830 h 6857987"/>
              <a:gd name="connsiteX980" fmla="*/ 1154486 w 12192003"/>
              <a:gd name="connsiteY980" fmla="*/ 410264 h 6857987"/>
              <a:gd name="connsiteX981" fmla="*/ 1201717 w 12192003"/>
              <a:gd name="connsiteY981" fmla="*/ 399264 h 6857987"/>
              <a:gd name="connsiteX982" fmla="*/ 1282955 w 12192003"/>
              <a:gd name="connsiteY982" fmla="*/ 417438 h 6857987"/>
              <a:gd name="connsiteX983" fmla="*/ 1282955 w 12192003"/>
              <a:gd name="connsiteY983" fmla="*/ 374394 h 6857987"/>
              <a:gd name="connsiteX984" fmla="*/ 1246114 w 12192003"/>
              <a:gd name="connsiteY984" fmla="*/ 361959 h 6857987"/>
              <a:gd name="connsiteX985" fmla="*/ 1203606 w 12192003"/>
              <a:gd name="connsiteY985" fmla="*/ 357176 h 6857987"/>
              <a:gd name="connsiteX986" fmla="*/ 597705 w 12192003"/>
              <a:gd name="connsiteY986" fmla="*/ 350361 h 6857987"/>
              <a:gd name="connsiteX987" fmla="*/ 498530 w 12192003"/>
              <a:gd name="connsiteY987" fmla="*/ 408149 h 6857987"/>
              <a:gd name="connsiteX988" fmla="*/ 485779 w 12192003"/>
              <a:gd name="connsiteY988" fmla="*/ 430117 h 6857987"/>
              <a:gd name="connsiteX989" fmla="*/ 485779 w 12192003"/>
              <a:gd name="connsiteY989" fmla="*/ 546171 h 6857987"/>
              <a:gd name="connsiteX990" fmla="*/ 498530 w 12192003"/>
              <a:gd name="connsiteY990" fmla="*/ 568140 h 6857987"/>
              <a:gd name="connsiteX991" fmla="*/ 597705 w 12192003"/>
              <a:gd name="connsiteY991" fmla="*/ 626405 h 6857987"/>
              <a:gd name="connsiteX992" fmla="*/ 623207 w 12192003"/>
              <a:gd name="connsiteY992" fmla="*/ 626405 h 6857987"/>
              <a:gd name="connsiteX993" fmla="*/ 897591 w 12192003"/>
              <a:gd name="connsiteY993" fmla="*/ 466414 h 6857987"/>
              <a:gd name="connsiteX994" fmla="*/ 745995 w 12192003"/>
              <a:gd name="connsiteY994" fmla="*/ 583900 h 6857987"/>
              <a:gd name="connsiteX995" fmla="*/ 818251 w 12192003"/>
              <a:gd name="connsiteY995" fmla="*/ 626405 h 6857987"/>
              <a:gd name="connsiteX996" fmla="*/ 843753 w 12192003"/>
              <a:gd name="connsiteY996" fmla="*/ 626405 h 6857987"/>
              <a:gd name="connsiteX997" fmla="*/ 942928 w 12192003"/>
              <a:gd name="connsiteY997" fmla="*/ 568140 h 6857987"/>
              <a:gd name="connsiteX998" fmla="*/ 955679 w 12192003"/>
              <a:gd name="connsiteY998" fmla="*/ 546171 h 6857987"/>
              <a:gd name="connsiteX999" fmla="*/ 955679 w 12192003"/>
              <a:gd name="connsiteY999" fmla="*/ 430117 h 6857987"/>
              <a:gd name="connsiteX1000" fmla="*/ 942928 w 12192003"/>
              <a:gd name="connsiteY1000" fmla="*/ 408149 h 6857987"/>
              <a:gd name="connsiteX1001" fmla="*/ 843753 w 12192003"/>
              <a:gd name="connsiteY1001" fmla="*/ 350361 h 6857987"/>
              <a:gd name="connsiteX1002" fmla="*/ 818251 w 12192003"/>
              <a:gd name="connsiteY1002" fmla="*/ 350361 h 6857987"/>
              <a:gd name="connsiteX1003" fmla="*/ 543867 w 12192003"/>
              <a:gd name="connsiteY1003" fmla="*/ 509874 h 6857987"/>
              <a:gd name="connsiteX1004" fmla="*/ 695935 w 12192003"/>
              <a:gd name="connsiteY1004" fmla="*/ 392388 h 6857987"/>
              <a:gd name="connsiteX1005" fmla="*/ 623207 w 12192003"/>
              <a:gd name="connsiteY1005" fmla="*/ 350361 h 6857987"/>
              <a:gd name="connsiteX1006" fmla="*/ 597705 w 12192003"/>
              <a:gd name="connsiteY1006" fmla="*/ 350361 h 6857987"/>
              <a:gd name="connsiteX1007" fmla="*/ 30 w 12192003"/>
              <a:gd name="connsiteY1007" fmla="*/ 0 h 6857987"/>
              <a:gd name="connsiteX1008" fmla="*/ 12192001 w 12192003"/>
              <a:gd name="connsiteY1008" fmla="*/ 0 h 6857987"/>
              <a:gd name="connsiteX1009" fmla="*/ 12192001 w 12192003"/>
              <a:gd name="connsiteY1009" fmla="*/ 5222224 h 6857987"/>
              <a:gd name="connsiteX1010" fmla="*/ 12192000 w 12192003"/>
              <a:gd name="connsiteY1010" fmla="*/ 5222224 h 6857987"/>
              <a:gd name="connsiteX1011" fmla="*/ 12192000 w 12192003"/>
              <a:gd name="connsiteY1011" fmla="*/ 6281930 h 6857987"/>
              <a:gd name="connsiteX1012" fmla="*/ 12191983 w 12192003"/>
              <a:gd name="connsiteY1012" fmla="*/ 6281930 h 6857987"/>
              <a:gd name="connsiteX1013" fmla="*/ 12191983 w 12192003"/>
              <a:gd name="connsiteY1013" fmla="*/ 6409565 h 6857987"/>
              <a:gd name="connsiteX1014" fmla="*/ 12191983 w 12192003"/>
              <a:gd name="connsiteY1014" fmla="*/ 6419890 h 6857987"/>
              <a:gd name="connsiteX1015" fmla="*/ 12191983 w 12192003"/>
              <a:gd name="connsiteY1015" fmla="*/ 6857984 h 6857987"/>
              <a:gd name="connsiteX1016" fmla="*/ 12192001 w 12192003"/>
              <a:gd name="connsiteY1016" fmla="*/ 6857984 h 6857987"/>
              <a:gd name="connsiteX1017" fmla="*/ 12192002 w 12192003"/>
              <a:gd name="connsiteY1017" fmla="*/ 6857984 h 6857987"/>
              <a:gd name="connsiteX1018" fmla="*/ 12192003 w 12192003"/>
              <a:gd name="connsiteY1018" fmla="*/ 6857984 h 6857987"/>
              <a:gd name="connsiteX1019" fmla="*/ 12192003 w 12192003"/>
              <a:gd name="connsiteY1019" fmla="*/ 6857987 h 6857987"/>
              <a:gd name="connsiteX1020" fmla="*/ 30 w 12192003"/>
              <a:gd name="connsiteY1020" fmla="*/ 6857987 h 6857987"/>
              <a:gd name="connsiteX1021" fmla="*/ 30 w 12192003"/>
              <a:gd name="connsiteY1021" fmla="*/ 6857984 h 6857987"/>
              <a:gd name="connsiteX1022" fmla="*/ 0 w 12192003"/>
              <a:gd name="connsiteY1022" fmla="*/ 6857984 h 6857987"/>
              <a:gd name="connsiteX1023" fmla="*/ 0 w 12192003"/>
              <a:gd name="connsiteY1023" fmla="*/ 6465431 h 6857987"/>
              <a:gd name="connsiteX1024" fmla="*/ 0 w 12192003"/>
              <a:gd name="connsiteY1024" fmla="*/ 6409565 h 6857987"/>
              <a:gd name="connsiteX1025" fmla="*/ 0 w 12192003"/>
              <a:gd name="connsiteY1025" fmla="*/ 6281930 h 6857987"/>
              <a:gd name="connsiteX1026" fmla="*/ 0 w 12192003"/>
              <a:gd name="connsiteY1026" fmla="*/ 6274310 h 6857987"/>
              <a:gd name="connsiteX1027" fmla="*/ 0 w 12192003"/>
              <a:gd name="connsiteY1027" fmla="*/ 4975844 h 6857987"/>
              <a:gd name="connsiteX1028" fmla="*/ 30 w 12192003"/>
              <a:gd name="connsiteY1028" fmla="*/ 4975844 h 6857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Lst>
            <a:rect l="l" t="t" r="r" b="b"/>
            <a:pathLst>
              <a:path w="12192003" h="6857987">
                <a:moveTo>
                  <a:pt x="2120962" y="6366103"/>
                </a:moveTo>
                <a:lnTo>
                  <a:pt x="2120962" y="6370277"/>
                </a:lnTo>
                <a:cubicBezTo>
                  <a:pt x="2120962" y="6374915"/>
                  <a:pt x="2120505" y="6378625"/>
                  <a:pt x="2119132" y="6380944"/>
                </a:cubicBezTo>
                <a:cubicBezTo>
                  <a:pt x="2117759" y="6384190"/>
                  <a:pt x="2115471" y="6386509"/>
                  <a:pt x="2112268" y="6388364"/>
                </a:cubicBezTo>
                <a:cubicBezTo>
                  <a:pt x="2109065" y="6390219"/>
                  <a:pt x="2105404" y="6391147"/>
                  <a:pt x="2101286" y="6391147"/>
                </a:cubicBezTo>
                <a:cubicBezTo>
                  <a:pt x="2097167" y="6391147"/>
                  <a:pt x="2093964" y="6390219"/>
                  <a:pt x="2091676" y="6388364"/>
                </a:cubicBezTo>
                <a:cubicBezTo>
                  <a:pt x="2089388" y="6386509"/>
                  <a:pt x="2088473" y="6383726"/>
                  <a:pt x="2088473" y="6380944"/>
                </a:cubicBezTo>
                <a:cubicBezTo>
                  <a:pt x="2088473" y="6379089"/>
                  <a:pt x="2088931" y="6377234"/>
                  <a:pt x="2089846" y="6375842"/>
                </a:cubicBezTo>
                <a:cubicBezTo>
                  <a:pt x="2090761" y="6374451"/>
                  <a:pt x="2092591" y="6373060"/>
                  <a:pt x="2093964" y="6372596"/>
                </a:cubicBezTo>
                <a:cubicBezTo>
                  <a:pt x="2095795" y="6371668"/>
                  <a:pt x="2098998" y="6370741"/>
                  <a:pt x="2103574" y="6370277"/>
                </a:cubicBezTo>
                <a:cubicBezTo>
                  <a:pt x="2111353" y="6368886"/>
                  <a:pt x="2117301" y="6367495"/>
                  <a:pt x="2120962" y="6366103"/>
                </a:cubicBezTo>
                <a:close/>
                <a:moveTo>
                  <a:pt x="1417035" y="6366103"/>
                </a:moveTo>
                <a:lnTo>
                  <a:pt x="1417035" y="6370277"/>
                </a:lnTo>
                <a:cubicBezTo>
                  <a:pt x="1417035" y="6374915"/>
                  <a:pt x="1416120" y="6378625"/>
                  <a:pt x="1415204" y="6380944"/>
                </a:cubicBezTo>
                <a:cubicBezTo>
                  <a:pt x="1413832" y="6384190"/>
                  <a:pt x="1411544" y="6386509"/>
                  <a:pt x="1408340" y="6388364"/>
                </a:cubicBezTo>
                <a:cubicBezTo>
                  <a:pt x="1405137" y="6390219"/>
                  <a:pt x="1401476" y="6391147"/>
                  <a:pt x="1397358" y="6391147"/>
                </a:cubicBezTo>
                <a:cubicBezTo>
                  <a:pt x="1392782" y="6391147"/>
                  <a:pt x="1390037" y="6390219"/>
                  <a:pt x="1387749" y="6388364"/>
                </a:cubicBezTo>
                <a:cubicBezTo>
                  <a:pt x="1385461" y="6386509"/>
                  <a:pt x="1384546" y="6383726"/>
                  <a:pt x="1384546" y="6380944"/>
                </a:cubicBezTo>
                <a:cubicBezTo>
                  <a:pt x="1384546" y="6379089"/>
                  <a:pt x="1385003" y="6377234"/>
                  <a:pt x="1385919" y="6375842"/>
                </a:cubicBezTo>
                <a:cubicBezTo>
                  <a:pt x="1386834" y="6374451"/>
                  <a:pt x="1388207" y="6373060"/>
                  <a:pt x="1390037" y="6372596"/>
                </a:cubicBezTo>
                <a:cubicBezTo>
                  <a:pt x="1391867" y="6371668"/>
                  <a:pt x="1395070" y="6370741"/>
                  <a:pt x="1399646" y="6370277"/>
                </a:cubicBezTo>
                <a:cubicBezTo>
                  <a:pt x="1407425" y="6368886"/>
                  <a:pt x="1412916" y="6367495"/>
                  <a:pt x="1417035" y="6366103"/>
                </a:cubicBezTo>
                <a:close/>
                <a:moveTo>
                  <a:pt x="495160" y="6357304"/>
                </a:moveTo>
                <a:cubicBezTo>
                  <a:pt x="515335" y="6357304"/>
                  <a:pt x="515335" y="6357304"/>
                  <a:pt x="515335" y="6357304"/>
                </a:cubicBezTo>
                <a:cubicBezTo>
                  <a:pt x="521296" y="6357304"/>
                  <a:pt x="525422" y="6357766"/>
                  <a:pt x="528173" y="6359150"/>
                </a:cubicBezTo>
                <a:cubicBezTo>
                  <a:pt x="531383" y="6360073"/>
                  <a:pt x="533676" y="6361457"/>
                  <a:pt x="535051" y="6364226"/>
                </a:cubicBezTo>
                <a:cubicBezTo>
                  <a:pt x="536885" y="6366534"/>
                  <a:pt x="537802" y="6369303"/>
                  <a:pt x="537802" y="6372533"/>
                </a:cubicBezTo>
                <a:cubicBezTo>
                  <a:pt x="537802" y="6375302"/>
                  <a:pt x="537344" y="6377610"/>
                  <a:pt x="535968" y="6379917"/>
                </a:cubicBezTo>
                <a:cubicBezTo>
                  <a:pt x="535051" y="6382225"/>
                  <a:pt x="533217" y="6383609"/>
                  <a:pt x="531383" y="6384993"/>
                </a:cubicBezTo>
                <a:cubicBezTo>
                  <a:pt x="530008" y="6385917"/>
                  <a:pt x="527715" y="6386840"/>
                  <a:pt x="524964" y="6387301"/>
                </a:cubicBezTo>
                <a:cubicBezTo>
                  <a:pt x="523588" y="6387301"/>
                  <a:pt x="520837" y="6387762"/>
                  <a:pt x="517169" y="6387762"/>
                </a:cubicBezTo>
                <a:cubicBezTo>
                  <a:pt x="495160" y="6387762"/>
                  <a:pt x="495160" y="6387762"/>
                  <a:pt x="495160" y="6387762"/>
                </a:cubicBezTo>
                <a:cubicBezTo>
                  <a:pt x="495160" y="6357304"/>
                  <a:pt x="495160" y="6357304"/>
                  <a:pt x="495160" y="6357304"/>
                </a:cubicBezTo>
                <a:close/>
                <a:moveTo>
                  <a:pt x="1903244" y="6341737"/>
                </a:moveTo>
                <a:cubicBezTo>
                  <a:pt x="1908729" y="6341737"/>
                  <a:pt x="1913300" y="6343611"/>
                  <a:pt x="1916500" y="6347828"/>
                </a:cubicBezTo>
                <a:cubicBezTo>
                  <a:pt x="1918785" y="6350640"/>
                  <a:pt x="1920156" y="6354389"/>
                  <a:pt x="1920614" y="6360012"/>
                </a:cubicBezTo>
                <a:cubicBezTo>
                  <a:pt x="1920614" y="6360012"/>
                  <a:pt x="1920614" y="6360012"/>
                  <a:pt x="1885417" y="6360012"/>
                </a:cubicBezTo>
                <a:cubicBezTo>
                  <a:pt x="1885874" y="6354389"/>
                  <a:pt x="1887703" y="6349703"/>
                  <a:pt x="1890902" y="6346422"/>
                </a:cubicBezTo>
                <a:cubicBezTo>
                  <a:pt x="1894559" y="6343142"/>
                  <a:pt x="1898673" y="6341737"/>
                  <a:pt x="1903244" y="6341737"/>
                </a:cubicBezTo>
                <a:close/>
                <a:moveTo>
                  <a:pt x="1002862" y="6341737"/>
                </a:moveTo>
                <a:cubicBezTo>
                  <a:pt x="1008400" y="6341737"/>
                  <a:pt x="1013015" y="6343611"/>
                  <a:pt x="1016246" y="6347828"/>
                </a:cubicBezTo>
                <a:cubicBezTo>
                  <a:pt x="1018553" y="6350640"/>
                  <a:pt x="1019938" y="6354389"/>
                  <a:pt x="1020399" y="6360012"/>
                </a:cubicBezTo>
                <a:cubicBezTo>
                  <a:pt x="1020399" y="6360012"/>
                  <a:pt x="1020399" y="6360012"/>
                  <a:pt x="984864" y="6360012"/>
                </a:cubicBezTo>
                <a:cubicBezTo>
                  <a:pt x="985326" y="6354389"/>
                  <a:pt x="987171" y="6349703"/>
                  <a:pt x="990402" y="6346422"/>
                </a:cubicBezTo>
                <a:cubicBezTo>
                  <a:pt x="994094" y="6343142"/>
                  <a:pt x="998247" y="6341737"/>
                  <a:pt x="1002862" y="6341737"/>
                </a:cubicBezTo>
                <a:close/>
                <a:moveTo>
                  <a:pt x="813510" y="6341737"/>
                </a:moveTo>
                <a:cubicBezTo>
                  <a:pt x="818995" y="6341737"/>
                  <a:pt x="823566" y="6343611"/>
                  <a:pt x="826766" y="6347829"/>
                </a:cubicBezTo>
                <a:cubicBezTo>
                  <a:pt x="829052" y="6350640"/>
                  <a:pt x="830423" y="6354389"/>
                  <a:pt x="830880" y="6360012"/>
                </a:cubicBezTo>
                <a:cubicBezTo>
                  <a:pt x="830880" y="6360012"/>
                  <a:pt x="830880" y="6360012"/>
                  <a:pt x="795684" y="6360012"/>
                </a:cubicBezTo>
                <a:cubicBezTo>
                  <a:pt x="796140" y="6354389"/>
                  <a:pt x="797969" y="6349703"/>
                  <a:pt x="801169" y="6346422"/>
                </a:cubicBezTo>
                <a:cubicBezTo>
                  <a:pt x="804368" y="6343142"/>
                  <a:pt x="808482" y="6341737"/>
                  <a:pt x="813510" y="6341737"/>
                </a:cubicBezTo>
                <a:close/>
                <a:moveTo>
                  <a:pt x="1165187" y="6341736"/>
                </a:moveTo>
                <a:cubicBezTo>
                  <a:pt x="1170652" y="6341736"/>
                  <a:pt x="1174751" y="6343606"/>
                  <a:pt x="1178394" y="6347812"/>
                </a:cubicBezTo>
                <a:cubicBezTo>
                  <a:pt x="1182037" y="6352018"/>
                  <a:pt x="1183859" y="6357626"/>
                  <a:pt x="1183859" y="6366039"/>
                </a:cubicBezTo>
                <a:cubicBezTo>
                  <a:pt x="1183859" y="6374451"/>
                  <a:pt x="1182037" y="6380527"/>
                  <a:pt x="1178394" y="6384733"/>
                </a:cubicBezTo>
                <a:cubicBezTo>
                  <a:pt x="1174751" y="6388939"/>
                  <a:pt x="1170652" y="6390809"/>
                  <a:pt x="1165187" y="6390809"/>
                </a:cubicBezTo>
                <a:cubicBezTo>
                  <a:pt x="1160177" y="6390809"/>
                  <a:pt x="1155623" y="6388939"/>
                  <a:pt x="1151980" y="6384733"/>
                </a:cubicBezTo>
                <a:cubicBezTo>
                  <a:pt x="1148337" y="6380527"/>
                  <a:pt x="1146970" y="6374451"/>
                  <a:pt x="1146970" y="6366039"/>
                </a:cubicBezTo>
                <a:cubicBezTo>
                  <a:pt x="1146970" y="6358094"/>
                  <a:pt x="1148337" y="6351551"/>
                  <a:pt x="1151980" y="6347812"/>
                </a:cubicBezTo>
                <a:cubicBezTo>
                  <a:pt x="1155623" y="6343606"/>
                  <a:pt x="1160177" y="6341736"/>
                  <a:pt x="1165187" y="6341736"/>
                </a:cubicBezTo>
                <a:close/>
                <a:moveTo>
                  <a:pt x="692803" y="6333954"/>
                </a:moveTo>
                <a:lnTo>
                  <a:pt x="692803" y="6398254"/>
                </a:lnTo>
                <a:lnTo>
                  <a:pt x="703294" y="6398254"/>
                </a:lnTo>
                <a:lnTo>
                  <a:pt x="703294" y="6333954"/>
                </a:lnTo>
                <a:close/>
                <a:moveTo>
                  <a:pt x="563862" y="6333954"/>
                </a:moveTo>
                <a:cubicBezTo>
                  <a:pt x="563862" y="6373998"/>
                  <a:pt x="563862" y="6373998"/>
                  <a:pt x="563862" y="6373998"/>
                </a:cubicBezTo>
                <a:cubicBezTo>
                  <a:pt x="563862" y="6378654"/>
                  <a:pt x="563862" y="6381914"/>
                  <a:pt x="564322" y="6384242"/>
                </a:cubicBezTo>
                <a:cubicBezTo>
                  <a:pt x="565240" y="6387036"/>
                  <a:pt x="566159" y="6389830"/>
                  <a:pt x="567996" y="6392158"/>
                </a:cubicBezTo>
                <a:cubicBezTo>
                  <a:pt x="569374" y="6394486"/>
                  <a:pt x="571670" y="6395883"/>
                  <a:pt x="574885" y="6397746"/>
                </a:cubicBezTo>
                <a:cubicBezTo>
                  <a:pt x="578100" y="6399143"/>
                  <a:pt x="581775" y="6399608"/>
                  <a:pt x="585449" y="6399608"/>
                </a:cubicBezTo>
                <a:cubicBezTo>
                  <a:pt x="593716" y="6399608"/>
                  <a:pt x="600606" y="6395883"/>
                  <a:pt x="605658" y="6388898"/>
                </a:cubicBezTo>
                <a:cubicBezTo>
                  <a:pt x="605658" y="6398211"/>
                  <a:pt x="605658" y="6398211"/>
                  <a:pt x="605658" y="6398211"/>
                </a:cubicBezTo>
                <a:cubicBezTo>
                  <a:pt x="615303" y="6398211"/>
                  <a:pt x="615303" y="6398211"/>
                  <a:pt x="615303" y="6398211"/>
                </a:cubicBezTo>
                <a:cubicBezTo>
                  <a:pt x="615303" y="6333954"/>
                  <a:pt x="615303" y="6333954"/>
                  <a:pt x="615303" y="6333954"/>
                </a:cubicBezTo>
                <a:cubicBezTo>
                  <a:pt x="604280" y="6333954"/>
                  <a:pt x="604280" y="6333954"/>
                  <a:pt x="604280" y="6333954"/>
                </a:cubicBezTo>
                <a:lnTo>
                  <a:pt x="604280" y="6368410"/>
                </a:lnTo>
                <a:cubicBezTo>
                  <a:pt x="604280" y="6373998"/>
                  <a:pt x="603821" y="6378189"/>
                  <a:pt x="602443" y="6380983"/>
                </a:cubicBezTo>
                <a:cubicBezTo>
                  <a:pt x="601524" y="6383777"/>
                  <a:pt x="599687" y="6386105"/>
                  <a:pt x="596472" y="6387967"/>
                </a:cubicBezTo>
                <a:cubicBezTo>
                  <a:pt x="593716" y="6389364"/>
                  <a:pt x="590961" y="6390295"/>
                  <a:pt x="587746" y="6390295"/>
                </a:cubicBezTo>
                <a:cubicBezTo>
                  <a:pt x="584531" y="6390295"/>
                  <a:pt x="581775" y="6389364"/>
                  <a:pt x="579478" y="6387967"/>
                </a:cubicBezTo>
                <a:cubicBezTo>
                  <a:pt x="577182" y="6386105"/>
                  <a:pt x="575804" y="6384242"/>
                  <a:pt x="575344" y="6380983"/>
                </a:cubicBezTo>
                <a:cubicBezTo>
                  <a:pt x="574885" y="6379120"/>
                  <a:pt x="574426" y="6375395"/>
                  <a:pt x="574426" y="6369807"/>
                </a:cubicBezTo>
                <a:cubicBezTo>
                  <a:pt x="574426" y="6333954"/>
                  <a:pt x="574426" y="6333954"/>
                  <a:pt x="574426" y="6333954"/>
                </a:cubicBezTo>
                <a:cubicBezTo>
                  <a:pt x="563862" y="6333954"/>
                  <a:pt x="563862" y="6333954"/>
                  <a:pt x="563862" y="6333954"/>
                </a:cubicBezTo>
                <a:close/>
                <a:moveTo>
                  <a:pt x="2107217" y="6332600"/>
                </a:moveTo>
                <a:cubicBezTo>
                  <a:pt x="2101717" y="6332600"/>
                  <a:pt x="2097134" y="6333531"/>
                  <a:pt x="2093009" y="6334927"/>
                </a:cubicBezTo>
                <a:cubicBezTo>
                  <a:pt x="2088884" y="6336323"/>
                  <a:pt x="2085675" y="6338649"/>
                  <a:pt x="2083383" y="6341441"/>
                </a:cubicBezTo>
                <a:cubicBezTo>
                  <a:pt x="2081550" y="6344233"/>
                  <a:pt x="2079717" y="6347956"/>
                  <a:pt x="2078800" y="6352609"/>
                </a:cubicBezTo>
                <a:cubicBezTo>
                  <a:pt x="2089342" y="6354005"/>
                  <a:pt x="2089342" y="6354005"/>
                  <a:pt x="2089342" y="6354005"/>
                </a:cubicBezTo>
                <a:cubicBezTo>
                  <a:pt x="2090258" y="6349352"/>
                  <a:pt x="2092092" y="6346095"/>
                  <a:pt x="2094842" y="6344233"/>
                </a:cubicBezTo>
                <a:cubicBezTo>
                  <a:pt x="2097134" y="6342837"/>
                  <a:pt x="2100800" y="6341907"/>
                  <a:pt x="2105842" y="6341907"/>
                </a:cubicBezTo>
                <a:cubicBezTo>
                  <a:pt x="2111342" y="6341907"/>
                  <a:pt x="2115467" y="6342837"/>
                  <a:pt x="2117759" y="6345629"/>
                </a:cubicBezTo>
                <a:cubicBezTo>
                  <a:pt x="2120051" y="6347025"/>
                  <a:pt x="2120968" y="6350283"/>
                  <a:pt x="2120968" y="6354936"/>
                </a:cubicBezTo>
                <a:cubicBezTo>
                  <a:pt x="2120968" y="6355401"/>
                  <a:pt x="2120968" y="6356332"/>
                  <a:pt x="2120968" y="6357728"/>
                </a:cubicBezTo>
                <a:cubicBezTo>
                  <a:pt x="2116842" y="6359124"/>
                  <a:pt x="2110426" y="6360520"/>
                  <a:pt x="2101717" y="6361451"/>
                </a:cubicBezTo>
                <a:cubicBezTo>
                  <a:pt x="2097592" y="6361916"/>
                  <a:pt x="2094384" y="6362381"/>
                  <a:pt x="2092550" y="6362847"/>
                </a:cubicBezTo>
                <a:cubicBezTo>
                  <a:pt x="2089342" y="6363777"/>
                  <a:pt x="2087050" y="6365173"/>
                  <a:pt x="2084758" y="6366569"/>
                </a:cubicBezTo>
                <a:cubicBezTo>
                  <a:pt x="2082467" y="6367965"/>
                  <a:pt x="2080633" y="6370292"/>
                  <a:pt x="2079258" y="6372619"/>
                </a:cubicBezTo>
                <a:cubicBezTo>
                  <a:pt x="2077883" y="6375411"/>
                  <a:pt x="2076967" y="6378203"/>
                  <a:pt x="2076967" y="6381460"/>
                </a:cubicBezTo>
                <a:cubicBezTo>
                  <a:pt x="2076967" y="6386579"/>
                  <a:pt x="2078800" y="6391232"/>
                  <a:pt x="2082467" y="6394489"/>
                </a:cubicBezTo>
                <a:cubicBezTo>
                  <a:pt x="2086134" y="6398212"/>
                  <a:pt x="2091634" y="6399608"/>
                  <a:pt x="2098509" y="6399608"/>
                </a:cubicBezTo>
                <a:cubicBezTo>
                  <a:pt x="2102634" y="6399608"/>
                  <a:pt x="2106759" y="6399143"/>
                  <a:pt x="2110426" y="6397747"/>
                </a:cubicBezTo>
                <a:cubicBezTo>
                  <a:pt x="2114092" y="6396351"/>
                  <a:pt x="2117759" y="6394024"/>
                  <a:pt x="2121884" y="6390301"/>
                </a:cubicBezTo>
                <a:cubicBezTo>
                  <a:pt x="2122343" y="6393559"/>
                  <a:pt x="2122801" y="6395886"/>
                  <a:pt x="2124176" y="6398212"/>
                </a:cubicBezTo>
                <a:cubicBezTo>
                  <a:pt x="2135176" y="6398212"/>
                  <a:pt x="2135176" y="6398212"/>
                  <a:pt x="2135176" y="6398212"/>
                </a:cubicBezTo>
                <a:cubicBezTo>
                  <a:pt x="2133801" y="6395886"/>
                  <a:pt x="2132884" y="6393094"/>
                  <a:pt x="2132426" y="6390767"/>
                </a:cubicBezTo>
                <a:cubicBezTo>
                  <a:pt x="2131968" y="6387975"/>
                  <a:pt x="2131968" y="6381460"/>
                  <a:pt x="2131968" y="6371222"/>
                </a:cubicBezTo>
                <a:cubicBezTo>
                  <a:pt x="2131968" y="6356797"/>
                  <a:pt x="2131968" y="6356797"/>
                  <a:pt x="2131968" y="6356797"/>
                </a:cubicBezTo>
                <a:cubicBezTo>
                  <a:pt x="2131968" y="6352144"/>
                  <a:pt x="2131509" y="6348887"/>
                  <a:pt x="2131051" y="6347025"/>
                </a:cubicBezTo>
                <a:cubicBezTo>
                  <a:pt x="2130593" y="6343768"/>
                  <a:pt x="2129676" y="6341441"/>
                  <a:pt x="2127843" y="6339580"/>
                </a:cubicBezTo>
                <a:cubicBezTo>
                  <a:pt x="2126468" y="6337719"/>
                  <a:pt x="2123718" y="6335857"/>
                  <a:pt x="2120509" y="6334461"/>
                </a:cubicBezTo>
                <a:cubicBezTo>
                  <a:pt x="2117301" y="6333531"/>
                  <a:pt x="2112717" y="6332600"/>
                  <a:pt x="2107217" y="6332600"/>
                </a:cubicBezTo>
                <a:close/>
                <a:moveTo>
                  <a:pt x="1903245" y="6332600"/>
                </a:moveTo>
                <a:cubicBezTo>
                  <a:pt x="1894536" y="6332600"/>
                  <a:pt x="1887661" y="6335857"/>
                  <a:pt x="1882161" y="6341907"/>
                </a:cubicBezTo>
                <a:cubicBezTo>
                  <a:pt x="1876661" y="6347491"/>
                  <a:pt x="1873911" y="6355867"/>
                  <a:pt x="1873911" y="6366569"/>
                </a:cubicBezTo>
                <a:cubicBezTo>
                  <a:pt x="1873911" y="6377272"/>
                  <a:pt x="1876661" y="6385183"/>
                  <a:pt x="1882161" y="6391232"/>
                </a:cubicBezTo>
                <a:cubicBezTo>
                  <a:pt x="1887661" y="6396816"/>
                  <a:pt x="1894994" y="6399608"/>
                  <a:pt x="1904161" y="6399608"/>
                </a:cubicBezTo>
                <a:cubicBezTo>
                  <a:pt x="1911495" y="6399608"/>
                  <a:pt x="1917453" y="6397747"/>
                  <a:pt x="1922037" y="6394489"/>
                </a:cubicBezTo>
                <a:cubicBezTo>
                  <a:pt x="1926620" y="6390767"/>
                  <a:pt x="1930287" y="6385648"/>
                  <a:pt x="1931662" y="6379133"/>
                </a:cubicBezTo>
                <a:cubicBezTo>
                  <a:pt x="1920661" y="6377737"/>
                  <a:pt x="1920661" y="6377737"/>
                  <a:pt x="1920661" y="6377737"/>
                </a:cubicBezTo>
                <a:cubicBezTo>
                  <a:pt x="1919287" y="6382391"/>
                  <a:pt x="1916995" y="6385648"/>
                  <a:pt x="1914245" y="6387509"/>
                </a:cubicBezTo>
                <a:cubicBezTo>
                  <a:pt x="1911495" y="6389836"/>
                  <a:pt x="1907828" y="6390767"/>
                  <a:pt x="1904161" y="6390767"/>
                </a:cubicBezTo>
                <a:cubicBezTo>
                  <a:pt x="1898661" y="6390767"/>
                  <a:pt x="1894536" y="6388906"/>
                  <a:pt x="1890869" y="6385183"/>
                </a:cubicBezTo>
                <a:cubicBezTo>
                  <a:pt x="1887202" y="6381460"/>
                  <a:pt x="1885369" y="6375876"/>
                  <a:pt x="1884911" y="6368896"/>
                </a:cubicBezTo>
                <a:cubicBezTo>
                  <a:pt x="1932120" y="6368896"/>
                  <a:pt x="1932120" y="6368896"/>
                  <a:pt x="1932120" y="6368896"/>
                </a:cubicBezTo>
                <a:cubicBezTo>
                  <a:pt x="1932120" y="6367500"/>
                  <a:pt x="1932120" y="6366569"/>
                  <a:pt x="1932120" y="6366104"/>
                </a:cubicBezTo>
                <a:cubicBezTo>
                  <a:pt x="1932120" y="6355401"/>
                  <a:pt x="1929370" y="6347491"/>
                  <a:pt x="1924328" y="6341441"/>
                </a:cubicBezTo>
                <a:cubicBezTo>
                  <a:pt x="1918828" y="6335857"/>
                  <a:pt x="1911953" y="6332600"/>
                  <a:pt x="1903245" y="6332600"/>
                </a:cubicBezTo>
                <a:close/>
                <a:moveTo>
                  <a:pt x="1403290" y="6332600"/>
                </a:moveTo>
                <a:cubicBezTo>
                  <a:pt x="1397790" y="6332600"/>
                  <a:pt x="1393206" y="6333531"/>
                  <a:pt x="1389081" y="6334927"/>
                </a:cubicBezTo>
                <a:cubicBezTo>
                  <a:pt x="1384956" y="6336323"/>
                  <a:pt x="1381748" y="6338649"/>
                  <a:pt x="1379456" y="6341441"/>
                </a:cubicBezTo>
                <a:cubicBezTo>
                  <a:pt x="1377164" y="6344233"/>
                  <a:pt x="1375789" y="6347956"/>
                  <a:pt x="1374873" y="6352609"/>
                </a:cubicBezTo>
                <a:cubicBezTo>
                  <a:pt x="1385414" y="6354005"/>
                  <a:pt x="1385414" y="6354005"/>
                  <a:pt x="1385414" y="6354005"/>
                </a:cubicBezTo>
                <a:cubicBezTo>
                  <a:pt x="1386331" y="6349352"/>
                  <a:pt x="1388165" y="6346095"/>
                  <a:pt x="1390456" y="6344233"/>
                </a:cubicBezTo>
                <a:cubicBezTo>
                  <a:pt x="1393206" y="6342837"/>
                  <a:pt x="1396873" y="6341907"/>
                  <a:pt x="1401915" y="6341907"/>
                </a:cubicBezTo>
                <a:cubicBezTo>
                  <a:pt x="1406956" y="6341907"/>
                  <a:pt x="1411082" y="6342837"/>
                  <a:pt x="1413832" y="6345629"/>
                </a:cubicBezTo>
                <a:cubicBezTo>
                  <a:pt x="1416123" y="6347025"/>
                  <a:pt x="1417040" y="6350283"/>
                  <a:pt x="1417040" y="6354936"/>
                </a:cubicBezTo>
                <a:cubicBezTo>
                  <a:pt x="1417040" y="6355401"/>
                  <a:pt x="1417040" y="6356332"/>
                  <a:pt x="1417040" y="6357728"/>
                </a:cubicBezTo>
                <a:cubicBezTo>
                  <a:pt x="1412915" y="6359124"/>
                  <a:pt x="1406498" y="6360520"/>
                  <a:pt x="1397790" y="6361451"/>
                </a:cubicBezTo>
                <a:cubicBezTo>
                  <a:pt x="1393665" y="6361916"/>
                  <a:pt x="1390456" y="6362381"/>
                  <a:pt x="1388165" y="6362847"/>
                </a:cubicBezTo>
                <a:cubicBezTo>
                  <a:pt x="1385414" y="6363777"/>
                  <a:pt x="1383123" y="6365173"/>
                  <a:pt x="1380831" y="6366569"/>
                </a:cubicBezTo>
                <a:cubicBezTo>
                  <a:pt x="1378539" y="6367965"/>
                  <a:pt x="1376706" y="6370292"/>
                  <a:pt x="1374873" y="6372619"/>
                </a:cubicBezTo>
                <a:cubicBezTo>
                  <a:pt x="1373497" y="6375411"/>
                  <a:pt x="1373039" y="6378203"/>
                  <a:pt x="1373039" y="6381460"/>
                </a:cubicBezTo>
                <a:cubicBezTo>
                  <a:pt x="1373039" y="6386579"/>
                  <a:pt x="1374873" y="6391232"/>
                  <a:pt x="1378539" y="6394489"/>
                </a:cubicBezTo>
                <a:cubicBezTo>
                  <a:pt x="1382206" y="6398212"/>
                  <a:pt x="1387706" y="6399608"/>
                  <a:pt x="1394581" y="6399608"/>
                </a:cubicBezTo>
                <a:cubicBezTo>
                  <a:pt x="1398706" y="6399608"/>
                  <a:pt x="1402831" y="6399143"/>
                  <a:pt x="1406498" y="6397747"/>
                </a:cubicBezTo>
                <a:cubicBezTo>
                  <a:pt x="1410165" y="6396351"/>
                  <a:pt x="1413832" y="6394024"/>
                  <a:pt x="1417957" y="6390301"/>
                </a:cubicBezTo>
                <a:cubicBezTo>
                  <a:pt x="1417957" y="6393559"/>
                  <a:pt x="1418873" y="6395886"/>
                  <a:pt x="1419790" y="6398212"/>
                </a:cubicBezTo>
                <a:cubicBezTo>
                  <a:pt x="1431249" y="6398212"/>
                  <a:pt x="1431249" y="6398212"/>
                  <a:pt x="1431249" y="6398212"/>
                </a:cubicBezTo>
                <a:cubicBezTo>
                  <a:pt x="1429873" y="6395886"/>
                  <a:pt x="1428957" y="6393094"/>
                  <a:pt x="1428499" y="6390767"/>
                </a:cubicBezTo>
                <a:cubicBezTo>
                  <a:pt x="1428040" y="6387975"/>
                  <a:pt x="1427582" y="6381460"/>
                  <a:pt x="1427582" y="6371222"/>
                </a:cubicBezTo>
                <a:cubicBezTo>
                  <a:pt x="1427582" y="6356797"/>
                  <a:pt x="1427582" y="6356797"/>
                  <a:pt x="1427582" y="6356797"/>
                </a:cubicBezTo>
                <a:cubicBezTo>
                  <a:pt x="1427582" y="6352144"/>
                  <a:pt x="1427582" y="6348887"/>
                  <a:pt x="1427123" y="6347025"/>
                </a:cubicBezTo>
                <a:cubicBezTo>
                  <a:pt x="1426665" y="6343768"/>
                  <a:pt x="1425290" y="6341441"/>
                  <a:pt x="1423915" y="6339580"/>
                </a:cubicBezTo>
                <a:cubicBezTo>
                  <a:pt x="1422082" y="6337719"/>
                  <a:pt x="1419790" y="6335857"/>
                  <a:pt x="1416582" y="6334461"/>
                </a:cubicBezTo>
                <a:cubicBezTo>
                  <a:pt x="1412915" y="6333531"/>
                  <a:pt x="1408790" y="6332600"/>
                  <a:pt x="1403290" y="6332600"/>
                </a:cubicBezTo>
                <a:close/>
                <a:moveTo>
                  <a:pt x="1165186" y="6332600"/>
                </a:moveTo>
                <a:cubicBezTo>
                  <a:pt x="1157381" y="6332600"/>
                  <a:pt x="1150953" y="6334927"/>
                  <a:pt x="1145444" y="6340045"/>
                </a:cubicBezTo>
                <a:cubicBezTo>
                  <a:pt x="1139017" y="6345629"/>
                  <a:pt x="1135803" y="6354470"/>
                  <a:pt x="1135803" y="6366104"/>
                </a:cubicBezTo>
                <a:cubicBezTo>
                  <a:pt x="1135803" y="6377272"/>
                  <a:pt x="1138558" y="6385183"/>
                  <a:pt x="1143608" y="6391232"/>
                </a:cubicBezTo>
                <a:cubicBezTo>
                  <a:pt x="1149117" y="6396816"/>
                  <a:pt x="1156462" y="6399608"/>
                  <a:pt x="1165186" y="6399608"/>
                </a:cubicBezTo>
                <a:cubicBezTo>
                  <a:pt x="1170695" y="6399608"/>
                  <a:pt x="1175745" y="6398212"/>
                  <a:pt x="1180337" y="6395886"/>
                </a:cubicBezTo>
                <a:cubicBezTo>
                  <a:pt x="1185387" y="6393094"/>
                  <a:pt x="1188600" y="6389371"/>
                  <a:pt x="1191355" y="6384718"/>
                </a:cubicBezTo>
                <a:cubicBezTo>
                  <a:pt x="1193650" y="6380064"/>
                  <a:pt x="1195027" y="6373549"/>
                  <a:pt x="1195027" y="6365173"/>
                </a:cubicBezTo>
                <a:cubicBezTo>
                  <a:pt x="1195027" y="6354936"/>
                  <a:pt x="1192273" y="6347025"/>
                  <a:pt x="1186764" y="6341441"/>
                </a:cubicBezTo>
                <a:cubicBezTo>
                  <a:pt x="1181255" y="6335857"/>
                  <a:pt x="1173909" y="6332600"/>
                  <a:pt x="1165186" y="6332600"/>
                </a:cubicBezTo>
                <a:close/>
                <a:moveTo>
                  <a:pt x="1003368" y="6332600"/>
                </a:moveTo>
                <a:cubicBezTo>
                  <a:pt x="994660" y="6332600"/>
                  <a:pt x="987327" y="6335857"/>
                  <a:pt x="982285" y="6341907"/>
                </a:cubicBezTo>
                <a:cubicBezTo>
                  <a:pt x="976785" y="6347491"/>
                  <a:pt x="974035" y="6355867"/>
                  <a:pt x="974035" y="6366569"/>
                </a:cubicBezTo>
                <a:cubicBezTo>
                  <a:pt x="974035" y="6377272"/>
                  <a:pt x="976785" y="6385183"/>
                  <a:pt x="981826" y="6391232"/>
                </a:cubicBezTo>
                <a:cubicBezTo>
                  <a:pt x="987327" y="6396816"/>
                  <a:pt x="994660" y="6399608"/>
                  <a:pt x="1003827" y="6399608"/>
                </a:cubicBezTo>
                <a:cubicBezTo>
                  <a:pt x="1011160" y="6399608"/>
                  <a:pt x="1017119" y="6397747"/>
                  <a:pt x="1022161" y="6394489"/>
                </a:cubicBezTo>
                <a:cubicBezTo>
                  <a:pt x="1026744" y="6390767"/>
                  <a:pt x="1029953" y="6385648"/>
                  <a:pt x="1031786" y="6379133"/>
                </a:cubicBezTo>
                <a:cubicBezTo>
                  <a:pt x="1020786" y="6377737"/>
                  <a:pt x="1020786" y="6377737"/>
                  <a:pt x="1020786" y="6377737"/>
                </a:cubicBezTo>
                <a:cubicBezTo>
                  <a:pt x="1018952" y="6382390"/>
                  <a:pt x="1016661" y="6385648"/>
                  <a:pt x="1013910" y="6387509"/>
                </a:cubicBezTo>
                <a:cubicBezTo>
                  <a:pt x="1011160" y="6389836"/>
                  <a:pt x="1007952" y="6390767"/>
                  <a:pt x="1003827" y="6390767"/>
                </a:cubicBezTo>
                <a:cubicBezTo>
                  <a:pt x="998785" y="6390767"/>
                  <a:pt x="994202" y="6388905"/>
                  <a:pt x="990993" y="6385183"/>
                </a:cubicBezTo>
                <a:cubicBezTo>
                  <a:pt x="987327" y="6381460"/>
                  <a:pt x="985493" y="6375876"/>
                  <a:pt x="985035" y="6368896"/>
                </a:cubicBezTo>
                <a:cubicBezTo>
                  <a:pt x="1031786" y="6368896"/>
                  <a:pt x="1031786" y="6368896"/>
                  <a:pt x="1031786" y="6368896"/>
                </a:cubicBezTo>
                <a:cubicBezTo>
                  <a:pt x="1032244" y="6367500"/>
                  <a:pt x="1032244" y="6366569"/>
                  <a:pt x="1032244" y="6366104"/>
                </a:cubicBezTo>
                <a:cubicBezTo>
                  <a:pt x="1032244" y="6355401"/>
                  <a:pt x="1029494" y="6347491"/>
                  <a:pt x="1023994" y="6341441"/>
                </a:cubicBezTo>
                <a:cubicBezTo>
                  <a:pt x="1018494" y="6335857"/>
                  <a:pt x="1011619" y="6332600"/>
                  <a:pt x="1003368" y="6332600"/>
                </a:cubicBezTo>
                <a:close/>
                <a:moveTo>
                  <a:pt x="936790" y="6332600"/>
                </a:moveTo>
                <a:cubicBezTo>
                  <a:pt x="933590" y="6332600"/>
                  <a:pt x="930847" y="6333065"/>
                  <a:pt x="927647" y="6333996"/>
                </a:cubicBezTo>
                <a:cubicBezTo>
                  <a:pt x="924904" y="6334926"/>
                  <a:pt x="922618" y="6335857"/>
                  <a:pt x="920789" y="6337253"/>
                </a:cubicBezTo>
                <a:cubicBezTo>
                  <a:pt x="918961" y="6338649"/>
                  <a:pt x="917132" y="6340976"/>
                  <a:pt x="915760" y="6343302"/>
                </a:cubicBezTo>
                <a:cubicBezTo>
                  <a:pt x="914389" y="6345629"/>
                  <a:pt x="913932" y="6348421"/>
                  <a:pt x="913932" y="6351213"/>
                </a:cubicBezTo>
                <a:cubicBezTo>
                  <a:pt x="913932" y="6354470"/>
                  <a:pt x="914389" y="6357262"/>
                  <a:pt x="916217" y="6359589"/>
                </a:cubicBezTo>
                <a:cubicBezTo>
                  <a:pt x="917589" y="6362381"/>
                  <a:pt x="919875" y="6364242"/>
                  <a:pt x="923075" y="6366104"/>
                </a:cubicBezTo>
                <a:cubicBezTo>
                  <a:pt x="926275" y="6367500"/>
                  <a:pt x="931304" y="6368896"/>
                  <a:pt x="939533" y="6371222"/>
                </a:cubicBezTo>
                <a:cubicBezTo>
                  <a:pt x="945019" y="6372618"/>
                  <a:pt x="948676" y="6374015"/>
                  <a:pt x="950048" y="6374945"/>
                </a:cubicBezTo>
                <a:cubicBezTo>
                  <a:pt x="952333" y="6376341"/>
                  <a:pt x="953248" y="6378202"/>
                  <a:pt x="953248" y="6380529"/>
                </a:cubicBezTo>
                <a:cubicBezTo>
                  <a:pt x="953248" y="6383321"/>
                  <a:pt x="952333" y="6385648"/>
                  <a:pt x="949591" y="6387975"/>
                </a:cubicBezTo>
                <a:cubicBezTo>
                  <a:pt x="947305" y="6389836"/>
                  <a:pt x="943647" y="6390767"/>
                  <a:pt x="939075" y="6390767"/>
                </a:cubicBezTo>
                <a:cubicBezTo>
                  <a:pt x="934047" y="6390767"/>
                  <a:pt x="930390" y="6389836"/>
                  <a:pt x="927647" y="6387509"/>
                </a:cubicBezTo>
                <a:cubicBezTo>
                  <a:pt x="924904" y="6385183"/>
                  <a:pt x="923075" y="6381925"/>
                  <a:pt x="922618" y="6377272"/>
                </a:cubicBezTo>
                <a:cubicBezTo>
                  <a:pt x="912103" y="6379133"/>
                  <a:pt x="912103" y="6379133"/>
                  <a:pt x="912103" y="6379133"/>
                </a:cubicBezTo>
                <a:cubicBezTo>
                  <a:pt x="913017" y="6386113"/>
                  <a:pt x="915760" y="6391232"/>
                  <a:pt x="920332" y="6394489"/>
                </a:cubicBezTo>
                <a:cubicBezTo>
                  <a:pt x="924447" y="6398212"/>
                  <a:pt x="930847" y="6399608"/>
                  <a:pt x="939075" y="6399608"/>
                </a:cubicBezTo>
                <a:cubicBezTo>
                  <a:pt x="944104" y="6399608"/>
                  <a:pt x="948219" y="6398677"/>
                  <a:pt x="952333" y="6397281"/>
                </a:cubicBezTo>
                <a:cubicBezTo>
                  <a:pt x="955991" y="6395420"/>
                  <a:pt x="959191" y="6393093"/>
                  <a:pt x="961020" y="6389836"/>
                </a:cubicBezTo>
                <a:cubicBezTo>
                  <a:pt x="963306" y="6386579"/>
                  <a:pt x="964221" y="6382856"/>
                  <a:pt x="964221" y="6379598"/>
                </a:cubicBezTo>
                <a:cubicBezTo>
                  <a:pt x="964221" y="6375876"/>
                  <a:pt x="963306" y="6372618"/>
                  <a:pt x="961934" y="6370292"/>
                </a:cubicBezTo>
                <a:cubicBezTo>
                  <a:pt x="960106" y="6367500"/>
                  <a:pt x="957820" y="6365638"/>
                  <a:pt x="954619" y="6364242"/>
                </a:cubicBezTo>
                <a:cubicBezTo>
                  <a:pt x="951877" y="6363312"/>
                  <a:pt x="946390" y="6361450"/>
                  <a:pt x="939075" y="6359589"/>
                </a:cubicBezTo>
                <a:cubicBezTo>
                  <a:pt x="933590" y="6358193"/>
                  <a:pt x="930390" y="6357262"/>
                  <a:pt x="929475" y="6356797"/>
                </a:cubicBezTo>
                <a:cubicBezTo>
                  <a:pt x="927647" y="6355866"/>
                  <a:pt x="926275" y="6354936"/>
                  <a:pt x="925361" y="6353539"/>
                </a:cubicBezTo>
                <a:cubicBezTo>
                  <a:pt x="924447" y="6352609"/>
                  <a:pt x="923989" y="6351213"/>
                  <a:pt x="923989" y="6349817"/>
                </a:cubicBezTo>
                <a:cubicBezTo>
                  <a:pt x="923989" y="6347956"/>
                  <a:pt x="925361" y="6345629"/>
                  <a:pt x="927189" y="6344233"/>
                </a:cubicBezTo>
                <a:cubicBezTo>
                  <a:pt x="929475" y="6342372"/>
                  <a:pt x="932676" y="6341906"/>
                  <a:pt x="937704" y="6341906"/>
                </a:cubicBezTo>
                <a:cubicBezTo>
                  <a:pt x="941819" y="6341906"/>
                  <a:pt x="945019" y="6342372"/>
                  <a:pt x="947305" y="6344233"/>
                </a:cubicBezTo>
                <a:cubicBezTo>
                  <a:pt x="949591" y="6346094"/>
                  <a:pt x="950962" y="6348886"/>
                  <a:pt x="951419" y="6352144"/>
                </a:cubicBezTo>
                <a:cubicBezTo>
                  <a:pt x="961934" y="6350748"/>
                  <a:pt x="961934" y="6350748"/>
                  <a:pt x="961934" y="6350748"/>
                </a:cubicBezTo>
                <a:cubicBezTo>
                  <a:pt x="961477" y="6346560"/>
                  <a:pt x="960106" y="6343302"/>
                  <a:pt x="958277" y="6340976"/>
                </a:cubicBezTo>
                <a:cubicBezTo>
                  <a:pt x="956449" y="6338184"/>
                  <a:pt x="953705" y="6336322"/>
                  <a:pt x="950048" y="6334926"/>
                </a:cubicBezTo>
                <a:cubicBezTo>
                  <a:pt x="946390" y="6333530"/>
                  <a:pt x="941819" y="6332600"/>
                  <a:pt x="936790" y="6332600"/>
                </a:cubicBezTo>
                <a:close/>
                <a:moveTo>
                  <a:pt x="876330" y="6332600"/>
                </a:moveTo>
                <a:cubicBezTo>
                  <a:pt x="873130" y="6332600"/>
                  <a:pt x="869930" y="6333065"/>
                  <a:pt x="867187" y="6333996"/>
                </a:cubicBezTo>
                <a:cubicBezTo>
                  <a:pt x="863987" y="6334926"/>
                  <a:pt x="861701" y="6335857"/>
                  <a:pt x="860329" y="6337253"/>
                </a:cubicBezTo>
                <a:cubicBezTo>
                  <a:pt x="858043" y="6338649"/>
                  <a:pt x="856215" y="6340976"/>
                  <a:pt x="854843" y="6343302"/>
                </a:cubicBezTo>
                <a:cubicBezTo>
                  <a:pt x="853472" y="6345629"/>
                  <a:pt x="853015" y="6348421"/>
                  <a:pt x="853015" y="6351213"/>
                </a:cubicBezTo>
                <a:cubicBezTo>
                  <a:pt x="853015" y="6354470"/>
                  <a:pt x="853929" y="6357262"/>
                  <a:pt x="855301" y="6359589"/>
                </a:cubicBezTo>
                <a:cubicBezTo>
                  <a:pt x="857129" y="6362381"/>
                  <a:pt x="859415" y="6364242"/>
                  <a:pt x="862158" y="6366104"/>
                </a:cubicBezTo>
                <a:cubicBezTo>
                  <a:pt x="865358" y="6367500"/>
                  <a:pt x="870844" y="6368896"/>
                  <a:pt x="878616" y="6371222"/>
                </a:cubicBezTo>
                <a:cubicBezTo>
                  <a:pt x="884102" y="6372618"/>
                  <a:pt x="887760" y="6374015"/>
                  <a:pt x="889589" y="6374945"/>
                </a:cubicBezTo>
                <a:cubicBezTo>
                  <a:pt x="891417" y="6376341"/>
                  <a:pt x="892332" y="6378202"/>
                  <a:pt x="892332" y="6380529"/>
                </a:cubicBezTo>
                <a:cubicBezTo>
                  <a:pt x="892332" y="6383321"/>
                  <a:pt x="891417" y="6385648"/>
                  <a:pt x="889132" y="6387975"/>
                </a:cubicBezTo>
                <a:cubicBezTo>
                  <a:pt x="886846" y="6389836"/>
                  <a:pt x="883188" y="6390767"/>
                  <a:pt x="878159" y="6390767"/>
                </a:cubicBezTo>
                <a:cubicBezTo>
                  <a:pt x="873130" y="6390767"/>
                  <a:pt x="869473" y="6389836"/>
                  <a:pt x="866730" y="6387509"/>
                </a:cubicBezTo>
                <a:cubicBezTo>
                  <a:pt x="863987" y="6385183"/>
                  <a:pt x="862158" y="6381925"/>
                  <a:pt x="861701" y="6377272"/>
                </a:cubicBezTo>
                <a:cubicBezTo>
                  <a:pt x="851186" y="6379133"/>
                  <a:pt x="851186" y="6379133"/>
                  <a:pt x="851186" y="6379133"/>
                </a:cubicBezTo>
                <a:cubicBezTo>
                  <a:pt x="852557" y="6386113"/>
                  <a:pt x="855301" y="6391232"/>
                  <a:pt x="859415" y="6394489"/>
                </a:cubicBezTo>
                <a:cubicBezTo>
                  <a:pt x="863530" y="6398212"/>
                  <a:pt x="869930" y="6399608"/>
                  <a:pt x="878159" y="6399608"/>
                </a:cubicBezTo>
                <a:cubicBezTo>
                  <a:pt x="883188" y="6399608"/>
                  <a:pt x="887302" y="6398677"/>
                  <a:pt x="891417" y="6397281"/>
                </a:cubicBezTo>
                <a:cubicBezTo>
                  <a:pt x="895532" y="6395420"/>
                  <a:pt x="898275" y="6393093"/>
                  <a:pt x="900561" y="6389836"/>
                </a:cubicBezTo>
                <a:cubicBezTo>
                  <a:pt x="902389" y="6386579"/>
                  <a:pt x="903304" y="6382856"/>
                  <a:pt x="903304" y="6379598"/>
                </a:cubicBezTo>
                <a:cubicBezTo>
                  <a:pt x="903304" y="6375876"/>
                  <a:pt x="902847" y="6372618"/>
                  <a:pt x="901018" y="6370292"/>
                </a:cubicBezTo>
                <a:cubicBezTo>
                  <a:pt x="899189" y="6367500"/>
                  <a:pt x="896903" y="6365638"/>
                  <a:pt x="894160" y="6364242"/>
                </a:cubicBezTo>
                <a:cubicBezTo>
                  <a:pt x="890960" y="6363312"/>
                  <a:pt x="885474" y="6361450"/>
                  <a:pt x="878159" y="6359589"/>
                </a:cubicBezTo>
                <a:cubicBezTo>
                  <a:pt x="873130" y="6358193"/>
                  <a:pt x="869930" y="6357262"/>
                  <a:pt x="868559" y="6356797"/>
                </a:cubicBezTo>
                <a:cubicBezTo>
                  <a:pt x="866730" y="6355866"/>
                  <a:pt x="865358" y="6354936"/>
                  <a:pt x="864444" y="6353540"/>
                </a:cubicBezTo>
                <a:cubicBezTo>
                  <a:pt x="863530" y="6352609"/>
                  <a:pt x="863530" y="6351213"/>
                  <a:pt x="863530" y="6349817"/>
                </a:cubicBezTo>
                <a:cubicBezTo>
                  <a:pt x="863530" y="6347956"/>
                  <a:pt x="864444" y="6345629"/>
                  <a:pt x="866273" y="6344233"/>
                </a:cubicBezTo>
                <a:cubicBezTo>
                  <a:pt x="868559" y="6342372"/>
                  <a:pt x="872216" y="6341906"/>
                  <a:pt x="876788" y="6341906"/>
                </a:cubicBezTo>
                <a:cubicBezTo>
                  <a:pt x="880902" y="6341906"/>
                  <a:pt x="884102" y="6342372"/>
                  <a:pt x="886388" y="6344233"/>
                </a:cubicBezTo>
                <a:cubicBezTo>
                  <a:pt x="888674" y="6346094"/>
                  <a:pt x="890046" y="6348886"/>
                  <a:pt x="890503" y="6352144"/>
                </a:cubicBezTo>
                <a:cubicBezTo>
                  <a:pt x="901018" y="6350748"/>
                  <a:pt x="901018" y="6350748"/>
                  <a:pt x="901018" y="6350748"/>
                </a:cubicBezTo>
                <a:cubicBezTo>
                  <a:pt x="900561" y="6346560"/>
                  <a:pt x="899189" y="6343302"/>
                  <a:pt x="897361" y="6340976"/>
                </a:cubicBezTo>
                <a:cubicBezTo>
                  <a:pt x="895532" y="6338184"/>
                  <a:pt x="892789" y="6336322"/>
                  <a:pt x="889132" y="6334926"/>
                </a:cubicBezTo>
                <a:cubicBezTo>
                  <a:pt x="885474" y="6333530"/>
                  <a:pt x="880902" y="6332600"/>
                  <a:pt x="876330" y="6332600"/>
                </a:cubicBezTo>
                <a:close/>
                <a:moveTo>
                  <a:pt x="813512" y="6332600"/>
                </a:moveTo>
                <a:cubicBezTo>
                  <a:pt x="804803" y="6332600"/>
                  <a:pt x="797928" y="6335857"/>
                  <a:pt x="792428" y="6341907"/>
                </a:cubicBezTo>
                <a:cubicBezTo>
                  <a:pt x="786928" y="6347491"/>
                  <a:pt x="784178" y="6355867"/>
                  <a:pt x="784178" y="6366569"/>
                </a:cubicBezTo>
                <a:cubicBezTo>
                  <a:pt x="784178" y="6377272"/>
                  <a:pt x="786928" y="6385183"/>
                  <a:pt x="792428" y="6391232"/>
                </a:cubicBezTo>
                <a:cubicBezTo>
                  <a:pt x="797470" y="6396816"/>
                  <a:pt x="804803" y="6399608"/>
                  <a:pt x="814428" y="6399608"/>
                </a:cubicBezTo>
                <a:cubicBezTo>
                  <a:pt x="821762" y="6399608"/>
                  <a:pt x="827720" y="6397747"/>
                  <a:pt x="832304" y="6394489"/>
                </a:cubicBezTo>
                <a:cubicBezTo>
                  <a:pt x="836887" y="6390767"/>
                  <a:pt x="840096" y="6385648"/>
                  <a:pt x="841929" y="6379133"/>
                </a:cubicBezTo>
                <a:cubicBezTo>
                  <a:pt x="830929" y="6377737"/>
                  <a:pt x="830929" y="6377737"/>
                  <a:pt x="830929" y="6377737"/>
                </a:cubicBezTo>
                <a:cubicBezTo>
                  <a:pt x="829095" y="6382390"/>
                  <a:pt x="827262" y="6385648"/>
                  <a:pt x="824512" y="6387509"/>
                </a:cubicBezTo>
                <a:cubicBezTo>
                  <a:pt x="821762" y="6389836"/>
                  <a:pt x="818095" y="6390767"/>
                  <a:pt x="814428" y="6390767"/>
                </a:cubicBezTo>
                <a:cubicBezTo>
                  <a:pt x="808929" y="6390767"/>
                  <a:pt x="804803" y="6388905"/>
                  <a:pt x="801137" y="6385183"/>
                </a:cubicBezTo>
                <a:cubicBezTo>
                  <a:pt x="797470" y="6381460"/>
                  <a:pt x="795636" y="6375876"/>
                  <a:pt x="795178" y="6368896"/>
                </a:cubicBezTo>
                <a:cubicBezTo>
                  <a:pt x="842387" y="6368896"/>
                  <a:pt x="842387" y="6368896"/>
                  <a:pt x="842387" y="6368896"/>
                </a:cubicBezTo>
                <a:cubicBezTo>
                  <a:pt x="842387" y="6367500"/>
                  <a:pt x="842387" y="6366569"/>
                  <a:pt x="842387" y="6366104"/>
                </a:cubicBezTo>
                <a:cubicBezTo>
                  <a:pt x="842387" y="6355401"/>
                  <a:pt x="839637" y="6347491"/>
                  <a:pt x="834137" y="6341441"/>
                </a:cubicBezTo>
                <a:cubicBezTo>
                  <a:pt x="829095" y="6335857"/>
                  <a:pt x="822220" y="6332600"/>
                  <a:pt x="813512" y="6332600"/>
                </a:cubicBezTo>
                <a:close/>
                <a:moveTo>
                  <a:pt x="749731" y="6332600"/>
                </a:moveTo>
                <a:cubicBezTo>
                  <a:pt x="741004" y="6332600"/>
                  <a:pt x="734115" y="6336325"/>
                  <a:pt x="729522" y="6343309"/>
                </a:cubicBezTo>
                <a:cubicBezTo>
                  <a:pt x="729522" y="6333997"/>
                  <a:pt x="729522" y="6333997"/>
                  <a:pt x="729522" y="6333997"/>
                </a:cubicBezTo>
                <a:cubicBezTo>
                  <a:pt x="719877" y="6333997"/>
                  <a:pt x="719877" y="6333997"/>
                  <a:pt x="719877" y="6333997"/>
                </a:cubicBezTo>
                <a:cubicBezTo>
                  <a:pt x="719877" y="6398254"/>
                  <a:pt x="719877" y="6398254"/>
                  <a:pt x="719877" y="6398254"/>
                </a:cubicBezTo>
                <a:cubicBezTo>
                  <a:pt x="730441" y="6398254"/>
                  <a:pt x="730441" y="6398254"/>
                  <a:pt x="730441" y="6398254"/>
                </a:cubicBezTo>
                <a:cubicBezTo>
                  <a:pt x="730441" y="6363332"/>
                  <a:pt x="730441" y="6363332"/>
                  <a:pt x="730441" y="6363332"/>
                </a:cubicBezTo>
                <a:cubicBezTo>
                  <a:pt x="730441" y="6354950"/>
                  <a:pt x="732278" y="6349363"/>
                  <a:pt x="735493" y="6346569"/>
                </a:cubicBezTo>
                <a:cubicBezTo>
                  <a:pt x="738708" y="6343775"/>
                  <a:pt x="742841" y="6342378"/>
                  <a:pt x="747434" y="6342378"/>
                </a:cubicBezTo>
                <a:cubicBezTo>
                  <a:pt x="750190" y="6342378"/>
                  <a:pt x="752946" y="6342843"/>
                  <a:pt x="754783" y="6344241"/>
                </a:cubicBezTo>
                <a:cubicBezTo>
                  <a:pt x="757079" y="6345637"/>
                  <a:pt x="758457" y="6347034"/>
                  <a:pt x="759376" y="6349363"/>
                </a:cubicBezTo>
                <a:cubicBezTo>
                  <a:pt x="760295" y="6351691"/>
                  <a:pt x="760754" y="6354950"/>
                  <a:pt x="760754" y="6359141"/>
                </a:cubicBezTo>
                <a:cubicBezTo>
                  <a:pt x="760754" y="6398254"/>
                  <a:pt x="760754" y="6398254"/>
                  <a:pt x="760754" y="6398254"/>
                </a:cubicBezTo>
                <a:cubicBezTo>
                  <a:pt x="771318" y="6398254"/>
                  <a:pt x="771318" y="6398254"/>
                  <a:pt x="771318" y="6398254"/>
                </a:cubicBezTo>
                <a:cubicBezTo>
                  <a:pt x="771318" y="6358675"/>
                  <a:pt x="771318" y="6358675"/>
                  <a:pt x="771318" y="6358675"/>
                </a:cubicBezTo>
                <a:cubicBezTo>
                  <a:pt x="771318" y="6354018"/>
                  <a:pt x="771318" y="6350294"/>
                  <a:pt x="770858" y="6348431"/>
                </a:cubicBezTo>
                <a:cubicBezTo>
                  <a:pt x="769940" y="6345172"/>
                  <a:pt x="769021" y="6342378"/>
                  <a:pt x="767184" y="6340516"/>
                </a:cubicBezTo>
                <a:cubicBezTo>
                  <a:pt x="765806" y="6338187"/>
                  <a:pt x="763510" y="6336325"/>
                  <a:pt x="760295" y="6334928"/>
                </a:cubicBezTo>
                <a:cubicBezTo>
                  <a:pt x="757079" y="6333531"/>
                  <a:pt x="753405" y="6332600"/>
                  <a:pt x="749731" y="6332600"/>
                </a:cubicBezTo>
                <a:close/>
                <a:moveTo>
                  <a:pt x="652512" y="6332600"/>
                </a:moveTo>
                <a:cubicBezTo>
                  <a:pt x="649312" y="6332600"/>
                  <a:pt x="646569" y="6333065"/>
                  <a:pt x="643369" y="6333996"/>
                </a:cubicBezTo>
                <a:cubicBezTo>
                  <a:pt x="640626" y="6334927"/>
                  <a:pt x="638340" y="6335857"/>
                  <a:pt x="636511" y="6337253"/>
                </a:cubicBezTo>
                <a:cubicBezTo>
                  <a:pt x="634682" y="6338649"/>
                  <a:pt x="632853" y="6340976"/>
                  <a:pt x="631482" y="6343302"/>
                </a:cubicBezTo>
                <a:cubicBezTo>
                  <a:pt x="630111" y="6345629"/>
                  <a:pt x="629653" y="6348421"/>
                  <a:pt x="629653" y="6351213"/>
                </a:cubicBezTo>
                <a:cubicBezTo>
                  <a:pt x="629653" y="6354470"/>
                  <a:pt x="630111" y="6357262"/>
                  <a:pt x="631939" y="6359589"/>
                </a:cubicBezTo>
                <a:cubicBezTo>
                  <a:pt x="633311" y="6362381"/>
                  <a:pt x="635597" y="6364242"/>
                  <a:pt x="638797" y="6366104"/>
                </a:cubicBezTo>
                <a:cubicBezTo>
                  <a:pt x="641997" y="6367500"/>
                  <a:pt x="647026" y="6368896"/>
                  <a:pt x="655255" y="6371222"/>
                </a:cubicBezTo>
                <a:cubicBezTo>
                  <a:pt x="660741" y="6372619"/>
                  <a:pt x="664399" y="6374015"/>
                  <a:pt x="665770" y="6374945"/>
                </a:cubicBezTo>
                <a:cubicBezTo>
                  <a:pt x="668056" y="6376341"/>
                  <a:pt x="668970" y="6378203"/>
                  <a:pt x="668970" y="6380529"/>
                </a:cubicBezTo>
                <a:cubicBezTo>
                  <a:pt x="668970" y="6383321"/>
                  <a:pt x="668056" y="6385648"/>
                  <a:pt x="665313" y="6387975"/>
                </a:cubicBezTo>
                <a:cubicBezTo>
                  <a:pt x="663027" y="6389836"/>
                  <a:pt x="659370" y="6390767"/>
                  <a:pt x="654798" y="6390767"/>
                </a:cubicBezTo>
                <a:cubicBezTo>
                  <a:pt x="649769" y="6390767"/>
                  <a:pt x="646112" y="6389836"/>
                  <a:pt x="643369" y="6387509"/>
                </a:cubicBezTo>
                <a:cubicBezTo>
                  <a:pt x="640626" y="6385183"/>
                  <a:pt x="638797" y="6381925"/>
                  <a:pt x="638340" y="6377272"/>
                </a:cubicBezTo>
                <a:cubicBezTo>
                  <a:pt x="627825" y="6379133"/>
                  <a:pt x="627825" y="6379133"/>
                  <a:pt x="627825" y="6379133"/>
                </a:cubicBezTo>
                <a:cubicBezTo>
                  <a:pt x="628739" y="6386113"/>
                  <a:pt x="631482" y="6391232"/>
                  <a:pt x="636054" y="6394489"/>
                </a:cubicBezTo>
                <a:cubicBezTo>
                  <a:pt x="640168" y="6398212"/>
                  <a:pt x="646569" y="6399608"/>
                  <a:pt x="654798" y="6399608"/>
                </a:cubicBezTo>
                <a:cubicBezTo>
                  <a:pt x="659827" y="6399608"/>
                  <a:pt x="663942" y="6398677"/>
                  <a:pt x="668056" y="6397281"/>
                </a:cubicBezTo>
                <a:cubicBezTo>
                  <a:pt x="671713" y="6395420"/>
                  <a:pt x="674913" y="6393093"/>
                  <a:pt x="676742" y="6389836"/>
                </a:cubicBezTo>
                <a:cubicBezTo>
                  <a:pt x="679028" y="6386579"/>
                  <a:pt x="679942" y="6382856"/>
                  <a:pt x="679942" y="6379598"/>
                </a:cubicBezTo>
                <a:cubicBezTo>
                  <a:pt x="679942" y="6375876"/>
                  <a:pt x="679028" y="6372619"/>
                  <a:pt x="677657" y="6370292"/>
                </a:cubicBezTo>
                <a:cubicBezTo>
                  <a:pt x="675828" y="6367500"/>
                  <a:pt x="673542" y="6365638"/>
                  <a:pt x="670342" y="6364242"/>
                </a:cubicBezTo>
                <a:cubicBezTo>
                  <a:pt x="667599" y="6363312"/>
                  <a:pt x="662113" y="6361450"/>
                  <a:pt x="654798" y="6359589"/>
                </a:cubicBezTo>
                <a:cubicBezTo>
                  <a:pt x="649312" y="6358193"/>
                  <a:pt x="646112" y="6357262"/>
                  <a:pt x="645197" y="6356797"/>
                </a:cubicBezTo>
                <a:cubicBezTo>
                  <a:pt x="643369" y="6355866"/>
                  <a:pt x="641997" y="6354936"/>
                  <a:pt x="641083" y="6353540"/>
                </a:cubicBezTo>
                <a:cubicBezTo>
                  <a:pt x="640168" y="6352609"/>
                  <a:pt x="639711" y="6351213"/>
                  <a:pt x="639711" y="6349817"/>
                </a:cubicBezTo>
                <a:cubicBezTo>
                  <a:pt x="639711" y="6347956"/>
                  <a:pt x="641083" y="6345629"/>
                  <a:pt x="642911" y="6344233"/>
                </a:cubicBezTo>
                <a:cubicBezTo>
                  <a:pt x="645197" y="6342372"/>
                  <a:pt x="648398" y="6341906"/>
                  <a:pt x="653426" y="6341906"/>
                </a:cubicBezTo>
                <a:cubicBezTo>
                  <a:pt x="657541" y="6341906"/>
                  <a:pt x="660741" y="6342372"/>
                  <a:pt x="663027" y="6344233"/>
                </a:cubicBezTo>
                <a:cubicBezTo>
                  <a:pt x="665313" y="6346094"/>
                  <a:pt x="666684" y="6348887"/>
                  <a:pt x="667142" y="6352144"/>
                </a:cubicBezTo>
                <a:cubicBezTo>
                  <a:pt x="677657" y="6350748"/>
                  <a:pt x="677657" y="6350748"/>
                  <a:pt x="677657" y="6350748"/>
                </a:cubicBezTo>
                <a:cubicBezTo>
                  <a:pt x="677199" y="6346560"/>
                  <a:pt x="675828" y="6343302"/>
                  <a:pt x="673999" y="6340976"/>
                </a:cubicBezTo>
                <a:cubicBezTo>
                  <a:pt x="672170" y="6338184"/>
                  <a:pt x="669427" y="6336322"/>
                  <a:pt x="665770" y="6334927"/>
                </a:cubicBezTo>
                <a:cubicBezTo>
                  <a:pt x="662113" y="6333530"/>
                  <a:pt x="657541" y="6332600"/>
                  <a:pt x="652512" y="6332600"/>
                </a:cubicBezTo>
                <a:close/>
                <a:moveTo>
                  <a:pt x="2178229" y="6332599"/>
                </a:moveTo>
                <a:cubicBezTo>
                  <a:pt x="2169043" y="6332599"/>
                  <a:pt x="2162613" y="6336324"/>
                  <a:pt x="2158020" y="6343309"/>
                </a:cubicBezTo>
                <a:cubicBezTo>
                  <a:pt x="2158020" y="6333996"/>
                  <a:pt x="2158020" y="6333996"/>
                  <a:pt x="2158020" y="6333996"/>
                </a:cubicBezTo>
                <a:cubicBezTo>
                  <a:pt x="2148375" y="6333996"/>
                  <a:pt x="2148375" y="6333996"/>
                  <a:pt x="2148375" y="6333996"/>
                </a:cubicBezTo>
                <a:cubicBezTo>
                  <a:pt x="2148375" y="6398254"/>
                  <a:pt x="2148375" y="6398254"/>
                  <a:pt x="2148375" y="6398254"/>
                </a:cubicBezTo>
                <a:cubicBezTo>
                  <a:pt x="2158939" y="6398254"/>
                  <a:pt x="2158939" y="6398254"/>
                  <a:pt x="2158939" y="6398254"/>
                </a:cubicBezTo>
                <a:cubicBezTo>
                  <a:pt x="2158939" y="6363331"/>
                  <a:pt x="2158939" y="6363331"/>
                  <a:pt x="2158939" y="6363331"/>
                </a:cubicBezTo>
                <a:cubicBezTo>
                  <a:pt x="2158939" y="6354950"/>
                  <a:pt x="2160776" y="6349362"/>
                  <a:pt x="2163991" y="6346568"/>
                </a:cubicBezTo>
                <a:cubicBezTo>
                  <a:pt x="2167206" y="6343774"/>
                  <a:pt x="2171339" y="6342378"/>
                  <a:pt x="2175932" y="6342378"/>
                </a:cubicBezTo>
                <a:cubicBezTo>
                  <a:pt x="2178688" y="6342378"/>
                  <a:pt x="2180985" y="6342843"/>
                  <a:pt x="2183281" y="6344240"/>
                </a:cubicBezTo>
                <a:cubicBezTo>
                  <a:pt x="2185578" y="6345637"/>
                  <a:pt x="2186955" y="6347034"/>
                  <a:pt x="2187874" y="6349362"/>
                </a:cubicBezTo>
                <a:cubicBezTo>
                  <a:pt x="2188333" y="6351690"/>
                  <a:pt x="2188793" y="6354950"/>
                  <a:pt x="2188793" y="6359141"/>
                </a:cubicBezTo>
                <a:cubicBezTo>
                  <a:pt x="2188793" y="6398254"/>
                  <a:pt x="2188793" y="6398254"/>
                  <a:pt x="2188793" y="6398254"/>
                </a:cubicBezTo>
                <a:cubicBezTo>
                  <a:pt x="2199816" y="6398254"/>
                  <a:pt x="2199816" y="6398254"/>
                  <a:pt x="2199816" y="6398254"/>
                </a:cubicBezTo>
                <a:cubicBezTo>
                  <a:pt x="2199816" y="6358675"/>
                  <a:pt x="2199816" y="6358675"/>
                  <a:pt x="2199816" y="6358675"/>
                </a:cubicBezTo>
                <a:cubicBezTo>
                  <a:pt x="2199816" y="6354018"/>
                  <a:pt x="2199356" y="6350293"/>
                  <a:pt x="2198897" y="6348431"/>
                </a:cubicBezTo>
                <a:cubicBezTo>
                  <a:pt x="2198438" y="6345171"/>
                  <a:pt x="2197519" y="6342378"/>
                  <a:pt x="2195682" y="6340515"/>
                </a:cubicBezTo>
                <a:cubicBezTo>
                  <a:pt x="2194304" y="6338187"/>
                  <a:pt x="2191548" y="6336324"/>
                  <a:pt x="2188333" y="6334927"/>
                </a:cubicBezTo>
                <a:cubicBezTo>
                  <a:pt x="2185578" y="6333531"/>
                  <a:pt x="2181903" y="6332599"/>
                  <a:pt x="2178229" y="6332599"/>
                </a:cubicBezTo>
                <a:close/>
                <a:moveTo>
                  <a:pt x="2042520" y="6332599"/>
                </a:moveTo>
                <a:cubicBezTo>
                  <a:pt x="2033793" y="6332599"/>
                  <a:pt x="2026904" y="6336324"/>
                  <a:pt x="2022311" y="6343309"/>
                </a:cubicBezTo>
                <a:cubicBezTo>
                  <a:pt x="2022311" y="6333996"/>
                  <a:pt x="2022311" y="6333996"/>
                  <a:pt x="2022311" y="6333996"/>
                </a:cubicBezTo>
                <a:cubicBezTo>
                  <a:pt x="2012666" y="6333996"/>
                  <a:pt x="2012666" y="6333996"/>
                  <a:pt x="2012666" y="6333996"/>
                </a:cubicBezTo>
                <a:cubicBezTo>
                  <a:pt x="2012666" y="6398254"/>
                  <a:pt x="2012666" y="6398254"/>
                  <a:pt x="2012666" y="6398254"/>
                </a:cubicBezTo>
                <a:cubicBezTo>
                  <a:pt x="2023689" y="6398254"/>
                  <a:pt x="2023689" y="6398254"/>
                  <a:pt x="2023689" y="6398254"/>
                </a:cubicBezTo>
                <a:cubicBezTo>
                  <a:pt x="2023689" y="6363331"/>
                  <a:pt x="2023689" y="6363331"/>
                  <a:pt x="2023689" y="6363331"/>
                </a:cubicBezTo>
                <a:cubicBezTo>
                  <a:pt x="2023689" y="6354950"/>
                  <a:pt x="2025067" y="6349362"/>
                  <a:pt x="2028741" y="6346568"/>
                </a:cubicBezTo>
                <a:cubicBezTo>
                  <a:pt x="2031956" y="6343774"/>
                  <a:pt x="2035630" y="6342378"/>
                  <a:pt x="2040223" y="6342378"/>
                </a:cubicBezTo>
                <a:cubicBezTo>
                  <a:pt x="2042979" y="6342378"/>
                  <a:pt x="2045735" y="6342843"/>
                  <a:pt x="2048031" y="6344240"/>
                </a:cubicBezTo>
                <a:cubicBezTo>
                  <a:pt x="2049868" y="6345637"/>
                  <a:pt x="2051246" y="6347034"/>
                  <a:pt x="2052165" y="6349362"/>
                </a:cubicBezTo>
                <a:cubicBezTo>
                  <a:pt x="2053083" y="6351691"/>
                  <a:pt x="2053543" y="6354950"/>
                  <a:pt x="2053543" y="6359141"/>
                </a:cubicBezTo>
                <a:cubicBezTo>
                  <a:pt x="2053543" y="6398254"/>
                  <a:pt x="2053543" y="6398254"/>
                  <a:pt x="2053543" y="6398254"/>
                </a:cubicBezTo>
                <a:cubicBezTo>
                  <a:pt x="2064106" y="6398254"/>
                  <a:pt x="2064106" y="6398254"/>
                  <a:pt x="2064106" y="6398254"/>
                </a:cubicBezTo>
                <a:cubicBezTo>
                  <a:pt x="2064106" y="6358675"/>
                  <a:pt x="2064106" y="6358675"/>
                  <a:pt x="2064106" y="6358675"/>
                </a:cubicBezTo>
                <a:cubicBezTo>
                  <a:pt x="2064106" y="6354018"/>
                  <a:pt x="2064106" y="6350293"/>
                  <a:pt x="2063647" y="6348431"/>
                </a:cubicBezTo>
                <a:cubicBezTo>
                  <a:pt x="2063188" y="6345171"/>
                  <a:pt x="2061810" y="6342378"/>
                  <a:pt x="2060432" y="6340515"/>
                </a:cubicBezTo>
                <a:cubicBezTo>
                  <a:pt x="2058595" y="6338187"/>
                  <a:pt x="2056298" y="6336324"/>
                  <a:pt x="2053083" y="6334927"/>
                </a:cubicBezTo>
                <a:cubicBezTo>
                  <a:pt x="2049868" y="6333531"/>
                  <a:pt x="2046194" y="6332599"/>
                  <a:pt x="2042520" y="6332599"/>
                </a:cubicBezTo>
                <a:close/>
                <a:moveTo>
                  <a:pt x="1974714" y="6332599"/>
                </a:moveTo>
                <a:cubicBezTo>
                  <a:pt x="1965987" y="6332599"/>
                  <a:pt x="1959557" y="6336324"/>
                  <a:pt x="1954964" y="6343309"/>
                </a:cubicBezTo>
                <a:cubicBezTo>
                  <a:pt x="1954964" y="6333996"/>
                  <a:pt x="1954964" y="6333996"/>
                  <a:pt x="1954964" y="6333996"/>
                </a:cubicBezTo>
                <a:cubicBezTo>
                  <a:pt x="1945319" y="6333996"/>
                  <a:pt x="1945319" y="6333996"/>
                  <a:pt x="1945319" y="6333996"/>
                </a:cubicBezTo>
                <a:cubicBezTo>
                  <a:pt x="1945319" y="6398254"/>
                  <a:pt x="1945319" y="6398254"/>
                  <a:pt x="1945319" y="6398254"/>
                </a:cubicBezTo>
                <a:cubicBezTo>
                  <a:pt x="1955883" y="6398254"/>
                  <a:pt x="1955883" y="6398254"/>
                  <a:pt x="1955883" y="6398254"/>
                </a:cubicBezTo>
                <a:cubicBezTo>
                  <a:pt x="1955883" y="6363331"/>
                  <a:pt x="1955883" y="6363331"/>
                  <a:pt x="1955883" y="6363331"/>
                </a:cubicBezTo>
                <a:cubicBezTo>
                  <a:pt x="1955883" y="6354950"/>
                  <a:pt x="1957720" y="6349362"/>
                  <a:pt x="1960935" y="6346568"/>
                </a:cubicBezTo>
                <a:cubicBezTo>
                  <a:pt x="1964150" y="6343775"/>
                  <a:pt x="1968283" y="6342378"/>
                  <a:pt x="1972876" y="6342378"/>
                </a:cubicBezTo>
                <a:cubicBezTo>
                  <a:pt x="1975632" y="6342378"/>
                  <a:pt x="1977929" y="6342843"/>
                  <a:pt x="1980225" y="6344240"/>
                </a:cubicBezTo>
                <a:cubicBezTo>
                  <a:pt x="1982062" y="6345637"/>
                  <a:pt x="1983899" y="6347034"/>
                  <a:pt x="1984359" y="6349362"/>
                </a:cubicBezTo>
                <a:cubicBezTo>
                  <a:pt x="1985277" y="6351691"/>
                  <a:pt x="1985737" y="6354950"/>
                  <a:pt x="1985737" y="6359141"/>
                </a:cubicBezTo>
                <a:cubicBezTo>
                  <a:pt x="1985737" y="6398254"/>
                  <a:pt x="1985737" y="6398254"/>
                  <a:pt x="1985737" y="6398254"/>
                </a:cubicBezTo>
                <a:cubicBezTo>
                  <a:pt x="1996760" y="6398254"/>
                  <a:pt x="1996760" y="6398254"/>
                  <a:pt x="1996760" y="6398254"/>
                </a:cubicBezTo>
                <a:cubicBezTo>
                  <a:pt x="1996760" y="6358675"/>
                  <a:pt x="1996760" y="6358675"/>
                  <a:pt x="1996760" y="6358675"/>
                </a:cubicBezTo>
                <a:cubicBezTo>
                  <a:pt x="1996760" y="6354018"/>
                  <a:pt x="1996300" y="6350293"/>
                  <a:pt x="1995841" y="6348431"/>
                </a:cubicBezTo>
                <a:cubicBezTo>
                  <a:pt x="1995382" y="6345172"/>
                  <a:pt x="1994004" y="6342378"/>
                  <a:pt x="1992626" y="6340515"/>
                </a:cubicBezTo>
                <a:cubicBezTo>
                  <a:pt x="1991248" y="6338187"/>
                  <a:pt x="1988492" y="6336324"/>
                  <a:pt x="1985277" y="6334927"/>
                </a:cubicBezTo>
                <a:cubicBezTo>
                  <a:pt x="1982062" y="6333531"/>
                  <a:pt x="1978847" y="6332599"/>
                  <a:pt x="1974714" y="6332599"/>
                </a:cubicBezTo>
                <a:close/>
                <a:moveTo>
                  <a:pt x="1774269" y="6332599"/>
                </a:moveTo>
                <a:cubicBezTo>
                  <a:pt x="1768753" y="6332599"/>
                  <a:pt x="1763697" y="6333995"/>
                  <a:pt x="1759099" y="6336787"/>
                </a:cubicBezTo>
                <a:cubicBezTo>
                  <a:pt x="1754502" y="6339114"/>
                  <a:pt x="1751285" y="6343302"/>
                  <a:pt x="1748986" y="6348421"/>
                </a:cubicBezTo>
                <a:cubicBezTo>
                  <a:pt x="1746688" y="6353539"/>
                  <a:pt x="1745309" y="6359589"/>
                  <a:pt x="1745309" y="6366569"/>
                </a:cubicBezTo>
                <a:cubicBezTo>
                  <a:pt x="1745309" y="6377272"/>
                  <a:pt x="1748067" y="6385182"/>
                  <a:pt x="1753123" y="6391232"/>
                </a:cubicBezTo>
                <a:cubicBezTo>
                  <a:pt x="1758640" y="6396815"/>
                  <a:pt x="1765535" y="6399608"/>
                  <a:pt x="1774269" y="6399608"/>
                </a:cubicBezTo>
                <a:cubicBezTo>
                  <a:pt x="1781165" y="6399608"/>
                  <a:pt x="1787141" y="6397746"/>
                  <a:pt x="1791738" y="6393558"/>
                </a:cubicBezTo>
                <a:cubicBezTo>
                  <a:pt x="1796335" y="6389370"/>
                  <a:pt x="1799553" y="6383786"/>
                  <a:pt x="1800472" y="6376341"/>
                </a:cubicBezTo>
                <a:cubicBezTo>
                  <a:pt x="1789899" y="6374945"/>
                  <a:pt x="1789899" y="6374945"/>
                  <a:pt x="1789899" y="6374945"/>
                </a:cubicBezTo>
                <a:cubicBezTo>
                  <a:pt x="1789439" y="6380064"/>
                  <a:pt x="1787601" y="6384252"/>
                  <a:pt x="1784843" y="6387044"/>
                </a:cubicBezTo>
                <a:cubicBezTo>
                  <a:pt x="1782084" y="6389370"/>
                  <a:pt x="1778407" y="6390766"/>
                  <a:pt x="1774269" y="6390766"/>
                </a:cubicBezTo>
                <a:cubicBezTo>
                  <a:pt x="1768753" y="6390766"/>
                  <a:pt x="1764616" y="6388905"/>
                  <a:pt x="1761398" y="6384717"/>
                </a:cubicBezTo>
                <a:cubicBezTo>
                  <a:pt x="1758180" y="6380994"/>
                  <a:pt x="1756341" y="6374945"/>
                  <a:pt x="1756341" y="6366104"/>
                </a:cubicBezTo>
                <a:cubicBezTo>
                  <a:pt x="1756341" y="6357728"/>
                  <a:pt x="1758180" y="6351678"/>
                  <a:pt x="1761398" y="6347490"/>
                </a:cubicBezTo>
                <a:cubicBezTo>
                  <a:pt x="1765076" y="6343768"/>
                  <a:pt x="1769213" y="6341906"/>
                  <a:pt x="1774729" y="6341906"/>
                </a:cubicBezTo>
                <a:cubicBezTo>
                  <a:pt x="1778407" y="6341906"/>
                  <a:pt x="1781165" y="6342837"/>
                  <a:pt x="1783923" y="6345163"/>
                </a:cubicBezTo>
                <a:cubicBezTo>
                  <a:pt x="1786222" y="6347025"/>
                  <a:pt x="1788061" y="6350282"/>
                  <a:pt x="1788980" y="6354470"/>
                </a:cubicBezTo>
                <a:cubicBezTo>
                  <a:pt x="1799553" y="6353074"/>
                  <a:pt x="1799553" y="6353074"/>
                  <a:pt x="1799553" y="6353074"/>
                </a:cubicBezTo>
                <a:cubicBezTo>
                  <a:pt x="1798174" y="6346559"/>
                  <a:pt x="1795415" y="6341441"/>
                  <a:pt x="1791278" y="6338183"/>
                </a:cubicBezTo>
                <a:cubicBezTo>
                  <a:pt x="1786681" y="6334461"/>
                  <a:pt x="1781165" y="6332599"/>
                  <a:pt x="1774269" y="6332599"/>
                </a:cubicBezTo>
                <a:close/>
                <a:moveTo>
                  <a:pt x="1505506" y="6332599"/>
                </a:moveTo>
                <a:cubicBezTo>
                  <a:pt x="1502286" y="6332599"/>
                  <a:pt x="1499064" y="6333065"/>
                  <a:pt x="1496304" y="6333995"/>
                </a:cubicBezTo>
                <a:cubicBezTo>
                  <a:pt x="1493543" y="6334926"/>
                  <a:pt x="1491242" y="6335857"/>
                  <a:pt x="1489402" y="6337253"/>
                </a:cubicBezTo>
                <a:cubicBezTo>
                  <a:pt x="1487101" y="6338649"/>
                  <a:pt x="1485720" y="6340976"/>
                  <a:pt x="1484340" y="6343302"/>
                </a:cubicBezTo>
                <a:cubicBezTo>
                  <a:pt x="1482960" y="6345629"/>
                  <a:pt x="1482040" y="6348421"/>
                  <a:pt x="1482040" y="6351213"/>
                </a:cubicBezTo>
                <a:cubicBezTo>
                  <a:pt x="1482040" y="6354470"/>
                  <a:pt x="1482960" y="6357262"/>
                  <a:pt x="1484800" y="6359589"/>
                </a:cubicBezTo>
                <a:cubicBezTo>
                  <a:pt x="1486181" y="6362381"/>
                  <a:pt x="1488481" y="6364242"/>
                  <a:pt x="1491702" y="6366104"/>
                </a:cubicBezTo>
                <a:cubicBezTo>
                  <a:pt x="1494463" y="6367500"/>
                  <a:pt x="1499985" y="6368896"/>
                  <a:pt x="1507807" y="6371222"/>
                </a:cubicBezTo>
                <a:cubicBezTo>
                  <a:pt x="1513789" y="6372618"/>
                  <a:pt x="1517470" y="6374014"/>
                  <a:pt x="1518851" y="6374945"/>
                </a:cubicBezTo>
                <a:cubicBezTo>
                  <a:pt x="1521152" y="6376341"/>
                  <a:pt x="1522072" y="6378202"/>
                  <a:pt x="1522072" y="6380529"/>
                </a:cubicBezTo>
                <a:cubicBezTo>
                  <a:pt x="1522072" y="6383321"/>
                  <a:pt x="1520691" y="6385648"/>
                  <a:pt x="1518391" y="6387975"/>
                </a:cubicBezTo>
                <a:cubicBezTo>
                  <a:pt x="1516090" y="6389836"/>
                  <a:pt x="1512409" y="6390766"/>
                  <a:pt x="1507347" y="6390766"/>
                </a:cubicBezTo>
                <a:cubicBezTo>
                  <a:pt x="1502746" y="6390766"/>
                  <a:pt x="1498604" y="6389836"/>
                  <a:pt x="1496304" y="6387509"/>
                </a:cubicBezTo>
                <a:cubicBezTo>
                  <a:pt x="1493543" y="6385182"/>
                  <a:pt x="1491702" y="6381925"/>
                  <a:pt x="1491242" y="6377272"/>
                </a:cubicBezTo>
                <a:cubicBezTo>
                  <a:pt x="1480659" y="6379133"/>
                  <a:pt x="1480659" y="6379133"/>
                  <a:pt x="1480659" y="6379133"/>
                </a:cubicBezTo>
                <a:cubicBezTo>
                  <a:pt x="1481579" y="6386113"/>
                  <a:pt x="1484340" y="6391232"/>
                  <a:pt x="1488941" y="6394489"/>
                </a:cubicBezTo>
                <a:cubicBezTo>
                  <a:pt x="1493083" y="6398212"/>
                  <a:pt x="1499525" y="6399608"/>
                  <a:pt x="1507347" y="6399608"/>
                </a:cubicBezTo>
                <a:cubicBezTo>
                  <a:pt x="1512409" y="6399608"/>
                  <a:pt x="1517010" y="6398677"/>
                  <a:pt x="1521152" y="6397281"/>
                </a:cubicBezTo>
                <a:cubicBezTo>
                  <a:pt x="1524832" y="6395420"/>
                  <a:pt x="1528054" y="6393093"/>
                  <a:pt x="1529894" y="6389836"/>
                </a:cubicBezTo>
                <a:cubicBezTo>
                  <a:pt x="1532195" y="6386578"/>
                  <a:pt x="1533115" y="6382856"/>
                  <a:pt x="1533115" y="6379598"/>
                </a:cubicBezTo>
                <a:cubicBezTo>
                  <a:pt x="1533115" y="6375876"/>
                  <a:pt x="1532195" y="6372618"/>
                  <a:pt x="1530354" y="6370292"/>
                </a:cubicBezTo>
                <a:cubicBezTo>
                  <a:pt x="1528974" y="6367500"/>
                  <a:pt x="1526673" y="6365638"/>
                  <a:pt x="1523452" y="6364242"/>
                </a:cubicBezTo>
                <a:cubicBezTo>
                  <a:pt x="1520691" y="6363312"/>
                  <a:pt x="1515170" y="6361450"/>
                  <a:pt x="1507347" y="6359589"/>
                </a:cubicBezTo>
                <a:cubicBezTo>
                  <a:pt x="1502286" y="6358193"/>
                  <a:pt x="1499064" y="6357262"/>
                  <a:pt x="1498144" y="6356797"/>
                </a:cubicBezTo>
                <a:cubicBezTo>
                  <a:pt x="1496304" y="6355866"/>
                  <a:pt x="1494923" y="6354936"/>
                  <a:pt x="1494003" y="6353539"/>
                </a:cubicBezTo>
                <a:cubicBezTo>
                  <a:pt x="1493083" y="6352609"/>
                  <a:pt x="1492623" y="6351213"/>
                  <a:pt x="1492623" y="6349817"/>
                </a:cubicBezTo>
                <a:cubicBezTo>
                  <a:pt x="1492623" y="6347956"/>
                  <a:pt x="1493543" y="6345629"/>
                  <a:pt x="1495844" y="6344233"/>
                </a:cubicBezTo>
                <a:cubicBezTo>
                  <a:pt x="1498144" y="6342371"/>
                  <a:pt x="1501365" y="6341906"/>
                  <a:pt x="1506427" y="6341906"/>
                </a:cubicBezTo>
                <a:cubicBezTo>
                  <a:pt x="1510568" y="6341906"/>
                  <a:pt x="1513789" y="6342371"/>
                  <a:pt x="1516090" y="6344233"/>
                </a:cubicBezTo>
                <a:cubicBezTo>
                  <a:pt x="1518391" y="6346094"/>
                  <a:pt x="1519771" y="6348886"/>
                  <a:pt x="1520231" y="6352144"/>
                </a:cubicBezTo>
                <a:cubicBezTo>
                  <a:pt x="1530814" y="6350748"/>
                  <a:pt x="1530814" y="6350748"/>
                  <a:pt x="1530814" y="6350748"/>
                </a:cubicBezTo>
                <a:cubicBezTo>
                  <a:pt x="1529894" y="6346560"/>
                  <a:pt x="1528974" y="6343302"/>
                  <a:pt x="1527133" y="6340976"/>
                </a:cubicBezTo>
                <a:cubicBezTo>
                  <a:pt x="1525293" y="6338184"/>
                  <a:pt x="1522532" y="6336322"/>
                  <a:pt x="1518851" y="6334926"/>
                </a:cubicBezTo>
                <a:cubicBezTo>
                  <a:pt x="1514709" y="6333530"/>
                  <a:pt x="1510568" y="6332599"/>
                  <a:pt x="1505506" y="6332599"/>
                </a:cubicBezTo>
                <a:close/>
                <a:moveTo>
                  <a:pt x="1467352" y="6332599"/>
                </a:moveTo>
                <a:cubicBezTo>
                  <a:pt x="1465073" y="6332599"/>
                  <a:pt x="1462795" y="6333531"/>
                  <a:pt x="1460516" y="6334928"/>
                </a:cubicBezTo>
                <a:cubicBezTo>
                  <a:pt x="1458693" y="6336325"/>
                  <a:pt x="1456414" y="6339584"/>
                  <a:pt x="1453680" y="6343775"/>
                </a:cubicBezTo>
                <a:cubicBezTo>
                  <a:pt x="1453680" y="6333996"/>
                  <a:pt x="1453680" y="6333996"/>
                  <a:pt x="1453680" y="6333996"/>
                </a:cubicBezTo>
                <a:cubicBezTo>
                  <a:pt x="1444109" y="6333996"/>
                  <a:pt x="1444109" y="6333996"/>
                  <a:pt x="1444109" y="6333996"/>
                </a:cubicBezTo>
                <a:cubicBezTo>
                  <a:pt x="1444109" y="6398254"/>
                  <a:pt x="1444109" y="6398254"/>
                  <a:pt x="1444109" y="6398254"/>
                </a:cubicBezTo>
                <a:cubicBezTo>
                  <a:pt x="1455047" y="6398254"/>
                  <a:pt x="1455047" y="6398254"/>
                  <a:pt x="1455047" y="6398254"/>
                </a:cubicBezTo>
                <a:cubicBezTo>
                  <a:pt x="1455047" y="6364728"/>
                  <a:pt x="1455047" y="6364728"/>
                  <a:pt x="1455047" y="6364728"/>
                </a:cubicBezTo>
                <a:cubicBezTo>
                  <a:pt x="1455047" y="6360072"/>
                  <a:pt x="1455502" y="6355881"/>
                  <a:pt x="1456414" y="6352156"/>
                </a:cubicBezTo>
                <a:cubicBezTo>
                  <a:pt x="1457326" y="6349362"/>
                  <a:pt x="1458693" y="6347500"/>
                  <a:pt x="1460516" y="6346103"/>
                </a:cubicBezTo>
                <a:cubicBezTo>
                  <a:pt x="1462339" y="6344706"/>
                  <a:pt x="1464617" y="6343775"/>
                  <a:pt x="1466896" y="6343775"/>
                </a:cubicBezTo>
                <a:cubicBezTo>
                  <a:pt x="1469631" y="6343775"/>
                  <a:pt x="1471910" y="6344706"/>
                  <a:pt x="1474644" y="6346103"/>
                </a:cubicBezTo>
                <a:cubicBezTo>
                  <a:pt x="1478290" y="6336325"/>
                  <a:pt x="1478290" y="6336325"/>
                  <a:pt x="1478290" y="6336325"/>
                </a:cubicBezTo>
                <a:cubicBezTo>
                  <a:pt x="1474644" y="6333996"/>
                  <a:pt x="1470998" y="6332599"/>
                  <a:pt x="1467352" y="6332599"/>
                </a:cubicBezTo>
                <a:close/>
                <a:moveTo>
                  <a:pt x="1065616" y="6332599"/>
                </a:moveTo>
                <a:cubicBezTo>
                  <a:pt x="1062403" y="6332599"/>
                  <a:pt x="1059189" y="6333065"/>
                  <a:pt x="1056434" y="6333996"/>
                </a:cubicBezTo>
                <a:cubicBezTo>
                  <a:pt x="1053680" y="6334926"/>
                  <a:pt x="1051385" y="6335857"/>
                  <a:pt x="1049548" y="6337253"/>
                </a:cubicBezTo>
                <a:cubicBezTo>
                  <a:pt x="1047252" y="6338649"/>
                  <a:pt x="1045416" y="6340976"/>
                  <a:pt x="1044039" y="6343302"/>
                </a:cubicBezTo>
                <a:cubicBezTo>
                  <a:pt x="1043121" y="6345629"/>
                  <a:pt x="1042203" y="6348421"/>
                  <a:pt x="1042203" y="6351213"/>
                </a:cubicBezTo>
                <a:cubicBezTo>
                  <a:pt x="1042203" y="6354470"/>
                  <a:pt x="1043121" y="6357262"/>
                  <a:pt x="1044498" y="6359589"/>
                </a:cubicBezTo>
                <a:cubicBezTo>
                  <a:pt x="1046334" y="6362381"/>
                  <a:pt x="1048630" y="6364242"/>
                  <a:pt x="1051385" y="6366104"/>
                </a:cubicBezTo>
                <a:cubicBezTo>
                  <a:pt x="1054598" y="6367500"/>
                  <a:pt x="1060107" y="6368896"/>
                  <a:pt x="1067911" y="6371222"/>
                </a:cubicBezTo>
                <a:cubicBezTo>
                  <a:pt x="1073879" y="6372618"/>
                  <a:pt x="1077552" y="6374015"/>
                  <a:pt x="1078929" y="6374945"/>
                </a:cubicBezTo>
                <a:cubicBezTo>
                  <a:pt x="1080765" y="6376341"/>
                  <a:pt x="1082143" y="6378202"/>
                  <a:pt x="1082143" y="6380529"/>
                </a:cubicBezTo>
                <a:cubicBezTo>
                  <a:pt x="1082143" y="6383321"/>
                  <a:pt x="1080765" y="6385648"/>
                  <a:pt x="1078470" y="6387975"/>
                </a:cubicBezTo>
                <a:cubicBezTo>
                  <a:pt x="1076175" y="6389836"/>
                  <a:pt x="1072502" y="6390767"/>
                  <a:pt x="1067452" y="6390767"/>
                </a:cubicBezTo>
                <a:cubicBezTo>
                  <a:pt x="1062403" y="6390767"/>
                  <a:pt x="1058729" y="6389836"/>
                  <a:pt x="1055975" y="6387509"/>
                </a:cubicBezTo>
                <a:cubicBezTo>
                  <a:pt x="1053221" y="6385183"/>
                  <a:pt x="1051843" y="6381925"/>
                  <a:pt x="1050925" y="6377272"/>
                </a:cubicBezTo>
                <a:cubicBezTo>
                  <a:pt x="1040366" y="6379133"/>
                  <a:pt x="1040366" y="6379133"/>
                  <a:pt x="1040366" y="6379133"/>
                </a:cubicBezTo>
                <a:cubicBezTo>
                  <a:pt x="1041744" y="6386113"/>
                  <a:pt x="1044498" y="6391232"/>
                  <a:pt x="1048630" y="6394489"/>
                </a:cubicBezTo>
                <a:cubicBezTo>
                  <a:pt x="1053221" y="6398212"/>
                  <a:pt x="1059189" y="6399608"/>
                  <a:pt x="1067452" y="6399608"/>
                </a:cubicBezTo>
                <a:cubicBezTo>
                  <a:pt x="1072502" y="6399608"/>
                  <a:pt x="1077093" y="6398677"/>
                  <a:pt x="1080765" y="6397281"/>
                </a:cubicBezTo>
                <a:cubicBezTo>
                  <a:pt x="1084897" y="6395420"/>
                  <a:pt x="1087652" y="6393093"/>
                  <a:pt x="1089947" y="6389836"/>
                </a:cubicBezTo>
                <a:cubicBezTo>
                  <a:pt x="1091784" y="6386579"/>
                  <a:pt x="1093161" y="6382856"/>
                  <a:pt x="1093161" y="6379598"/>
                </a:cubicBezTo>
                <a:cubicBezTo>
                  <a:pt x="1093161" y="6375876"/>
                  <a:pt x="1092242" y="6372618"/>
                  <a:pt x="1090406" y="6370292"/>
                </a:cubicBezTo>
                <a:cubicBezTo>
                  <a:pt x="1088570" y="6367500"/>
                  <a:pt x="1086275" y="6365638"/>
                  <a:pt x="1083520" y="6364242"/>
                </a:cubicBezTo>
                <a:cubicBezTo>
                  <a:pt x="1080306" y="6363312"/>
                  <a:pt x="1075257" y="6361450"/>
                  <a:pt x="1067452" y="6359589"/>
                </a:cubicBezTo>
                <a:cubicBezTo>
                  <a:pt x="1062403" y="6358193"/>
                  <a:pt x="1059189" y="6357262"/>
                  <a:pt x="1058270" y="6356797"/>
                </a:cubicBezTo>
                <a:cubicBezTo>
                  <a:pt x="1056434" y="6355866"/>
                  <a:pt x="1055057" y="6354936"/>
                  <a:pt x="1054139" y="6353539"/>
                </a:cubicBezTo>
                <a:cubicBezTo>
                  <a:pt x="1053221" y="6352609"/>
                  <a:pt x="1052762" y="6351213"/>
                  <a:pt x="1052762" y="6349817"/>
                </a:cubicBezTo>
                <a:cubicBezTo>
                  <a:pt x="1052762" y="6347956"/>
                  <a:pt x="1053680" y="6345629"/>
                  <a:pt x="1055975" y="6344233"/>
                </a:cubicBezTo>
                <a:cubicBezTo>
                  <a:pt x="1057811" y="6342372"/>
                  <a:pt x="1061484" y="6341906"/>
                  <a:pt x="1066534" y="6341906"/>
                </a:cubicBezTo>
                <a:cubicBezTo>
                  <a:pt x="1070666" y="6341906"/>
                  <a:pt x="1073879" y="6342372"/>
                  <a:pt x="1076175" y="6344233"/>
                </a:cubicBezTo>
                <a:cubicBezTo>
                  <a:pt x="1078470" y="6346094"/>
                  <a:pt x="1079847" y="6348886"/>
                  <a:pt x="1080306" y="6352144"/>
                </a:cubicBezTo>
                <a:cubicBezTo>
                  <a:pt x="1090865" y="6350748"/>
                  <a:pt x="1090865" y="6350748"/>
                  <a:pt x="1090865" y="6350748"/>
                </a:cubicBezTo>
                <a:cubicBezTo>
                  <a:pt x="1089947" y="6346560"/>
                  <a:pt x="1088570" y="6343302"/>
                  <a:pt x="1087193" y="6340976"/>
                </a:cubicBezTo>
                <a:cubicBezTo>
                  <a:pt x="1085356" y="6338184"/>
                  <a:pt x="1082602" y="6336322"/>
                  <a:pt x="1078470" y="6334926"/>
                </a:cubicBezTo>
                <a:cubicBezTo>
                  <a:pt x="1074797" y="6333530"/>
                  <a:pt x="1070666" y="6332599"/>
                  <a:pt x="1065616" y="6332599"/>
                </a:cubicBezTo>
                <a:close/>
                <a:moveTo>
                  <a:pt x="495160" y="6320077"/>
                </a:moveTo>
                <a:cubicBezTo>
                  <a:pt x="512560" y="6320077"/>
                  <a:pt x="512560" y="6320077"/>
                  <a:pt x="512560" y="6320077"/>
                </a:cubicBezTo>
                <a:cubicBezTo>
                  <a:pt x="518970" y="6320077"/>
                  <a:pt x="523548" y="6320538"/>
                  <a:pt x="525838" y="6321460"/>
                </a:cubicBezTo>
                <a:cubicBezTo>
                  <a:pt x="528585" y="6322382"/>
                  <a:pt x="530417" y="6323765"/>
                  <a:pt x="531790" y="6326070"/>
                </a:cubicBezTo>
                <a:cubicBezTo>
                  <a:pt x="533164" y="6328375"/>
                  <a:pt x="534080" y="6330679"/>
                  <a:pt x="534080" y="6333906"/>
                </a:cubicBezTo>
                <a:cubicBezTo>
                  <a:pt x="534080" y="6336672"/>
                  <a:pt x="533164" y="6339437"/>
                  <a:pt x="531790" y="6341281"/>
                </a:cubicBezTo>
                <a:cubicBezTo>
                  <a:pt x="530417" y="6343586"/>
                  <a:pt x="528127" y="6344969"/>
                  <a:pt x="525380" y="6345891"/>
                </a:cubicBezTo>
                <a:cubicBezTo>
                  <a:pt x="523091" y="6346352"/>
                  <a:pt x="519428" y="6346813"/>
                  <a:pt x="514391" y="6346813"/>
                </a:cubicBezTo>
                <a:cubicBezTo>
                  <a:pt x="495160" y="6346813"/>
                  <a:pt x="495160" y="6346813"/>
                  <a:pt x="495160" y="6346813"/>
                </a:cubicBezTo>
                <a:close/>
                <a:moveTo>
                  <a:pt x="1810625" y="6309925"/>
                </a:moveTo>
                <a:lnTo>
                  <a:pt x="1810625" y="6398254"/>
                </a:lnTo>
                <a:lnTo>
                  <a:pt x="1865112" y="6398254"/>
                </a:lnTo>
                <a:lnTo>
                  <a:pt x="1865112" y="6387763"/>
                </a:lnTo>
                <a:lnTo>
                  <a:pt x="1822131" y="6387763"/>
                </a:lnTo>
                <a:lnTo>
                  <a:pt x="1822131" y="6309925"/>
                </a:lnTo>
                <a:close/>
                <a:moveTo>
                  <a:pt x="1648180" y="6309925"/>
                </a:moveTo>
                <a:cubicBezTo>
                  <a:pt x="1648180" y="6398254"/>
                  <a:pt x="1648180" y="6398254"/>
                  <a:pt x="1648180" y="6398254"/>
                </a:cubicBezTo>
                <a:cubicBezTo>
                  <a:pt x="1659663" y="6398254"/>
                  <a:pt x="1659663" y="6398254"/>
                  <a:pt x="1659663" y="6398254"/>
                </a:cubicBezTo>
                <a:cubicBezTo>
                  <a:pt x="1659663" y="6322942"/>
                  <a:pt x="1659663" y="6322942"/>
                  <a:pt x="1659663" y="6322942"/>
                </a:cubicBezTo>
                <a:cubicBezTo>
                  <a:pt x="1684924" y="6398254"/>
                  <a:pt x="1684924" y="6398254"/>
                  <a:pt x="1684924" y="6398254"/>
                </a:cubicBezTo>
                <a:cubicBezTo>
                  <a:pt x="1695028" y="6398254"/>
                  <a:pt x="1695028" y="6398254"/>
                  <a:pt x="1695028" y="6398254"/>
                </a:cubicBezTo>
                <a:cubicBezTo>
                  <a:pt x="1720749" y="6324336"/>
                  <a:pt x="1720749" y="6324336"/>
                  <a:pt x="1720749" y="6324336"/>
                </a:cubicBezTo>
                <a:cubicBezTo>
                  <a:pt x="1720749" y="6398254"/>
                  <a:pt x="1720749" y="6398254"/>
                  <a:pt x="1720749" y="6398254"/>
                </a:cubicBezTo>
                <a:cubicBezTo>
                  <a:pt x="1731772" y="6398254"/>
                  <a:pt x="1731772" y="6398254"/>
                  <a:pt x="1731772" y="6398254"/>
                </a:cubicBezTo>
                <a:cubicBezTo>
                  <a:pt x="1731772" y="6309925"/>
                  <a:pt x="1731772" y="6309925"/>
                  <a:pt x="1731772" y="6309925"/>
                </a:cubicBezTo>
                <a:cubicBezTo>
                  <a:pt x="1716156" y="6309925"/>
                  <a:pt x="1716156" y="6309925"/>
                  <a:pt x="1716156" y="6309925"/>
                </a:cubicBezTo>
                <a:lnTo>
                  <a:pt x="1695028" y="6371291"/>
                </a:lnTo>
                <a:cubicBezTo>
                  <a:pt x="1693191" y="6377799"/>
                  <a:pt x="1691813" y="6382448"/>
                  <a:pt x="1690435" y="6385702"/>
                </a:cubicBezTo>
                <a:cubicBezTo>
                  <a:pt x="1689517" y="6382913"/>
                  <a:pt x="1688139" y="6378264"/>
                  <a:pt x="1686302" y="6372685"/>
                </a:cubicBezTo>
                <a:cubicBezTo>
                  <a:pt x="1665633" y="6309925"/>
                  <a:pt x="1665633" y="6309925"/>
                  <a:pt x="1665633" y="6309925"/>
                </a:cubicBezTo>
                <a:cubicBezTo>
                  <a:pt x="1648180" y="6309925"/>
                  <a:pt x="1648180" y="6309925"/>
                  <a:pt x="1648180" y="6309925"/>
                </a:cubicBezTo>
                <a:close/>
                <a:moveTo>
                  <a:pt x="1545975" y="6309925"/>
                </a:moveTo>
                <a:cubicBezTo>
                  <a:pt x="1545975" y="6398254"/>
                  <a:pt x="1545975" y="6398254"/>
                  <a:pt x="1545975" y="6398254"/>
                </a:cubicBezTo>
                <a:cubicBezTo>
                  <a:pt x="1556470" y="6398254"/>
                  <a:pt x="1556470" y="6398254"/>
                  <a:pt x="1556470" y="6398254"/>
                </a:cubicBezTo>
                <a:cubicBezTo>
                  <a:pt x="1556470" y="6363387"/>
                  <a:pt x="1556470" y="6363387"/>
                  <a:pt x="1556470" y="6363387"/>
                </a:cubicBezTo>
                <a:cubicBezTo>
                  <a:pt x="1556470" y="6358274"/>
                  <a:pt x="1556926" y="6354555"/>
                  <a:pt x="1558295" y="6351300"/>
                </a:cubicBezTo>
                <a:cubicBezTo>
                  <a:pt x="1559663" y="6348511"/>
                  <a:pt x="1561488" y="6346187"/>
                  <a:pt x="1564226" y="6344792"/>
                </a:cubicBezTo>
                <a:cubicBezTo>
                  <a:pt x="1566964" y="6342932"/>
                  <a:pt x="1570158" y="6342002"/>
                  <a:pt x="1573352" y="6342002"/>
                </a:cubicBezTo>
                <a:cubicBezTo>
                  <a:pt x="1577458" y="6342002"/>
                  <a:pt x="1580652" y="6343397"/>
                  <a:pt x="1582933" y="6345722"/>
                </a:cubicBezTo>
                <a:cubicBezTo>
                  <a:pt x="1585215" y="6348511"/>
                  <a:pt x="1586583" y="6352230"/>
                  <a:pt x="1586583" y="6357809"/>
                </a:cubicBezTo>
                <a:cubicBezTo>
                  <a:pt x="1586583" y="6398254"/>
                  <a:pt x="1586583" y="6398254"/>
                  <a:pt x="1586583" y="6398254"/>
                </a:cubicBezTo>
                <a:cubicBezTo>
                  <a:pt x="1597078" y="6398254"/>
                  <a:pt x="1597078" y="6398254"/>
                  <a:pt x="1597078" y="6398254"/>
                </a:cubicBezTo>
                <a:cubicBezTo>
                  <a:pt x="1597078" y="6357809"/>
                  <a:pt x="1597078" y="6357809"/>
                  <a:pt x="1597078" y="6357809"/>
                </a:cubicBezTo>
                <a:cubicBezTo>
                  <a:pt x="1597078" y="6351300"/>
                  <a:pt x="1596165" y="6346651"/>
                  <a:pt x="1594797" y="6343397"/>
                </a:cubicBezTo>
                <a:cubicBezTo>
                  <a:pt x="1593428" y="6340143"/>
                  <a:pt x="1590690" y="6337353"/>
                  <a:pt x="1587496" y="6335494"/>
                </a:cubicBezTo>
                <a:cubicBezTo>
                  <a:pt x="1583846" y="6333634"/>
                  <a:pt x="1580196" y="6332705"/>
                  <a:pt x="1575177" y="6332705"/>
                </a:cubicBezTo>
                <a:cubicBezTo>
                  <a:pt x="1567876" y="6332705"/>
                  <a:pt x="1561488" y="6335959"/>
                  <a:pt x="1556470" y="6341537"/>
                </a:cubicBezTo>
                <a:cubicBezTo>
                  <a:pt x="1556470" y="6309925"/>
                  <a:pt x="1556470" y="6309925"/>
                  <a:pt x="1556470" y="6309925"/>
                </a:cubicBezTo>
                <a:cubicBezTo>
                  <a:pt x="1545975" y="6309925"/>
                  <a:pt x="1545975" y="6309925"/>
                  <a:pt x="1545975" y="6309925"/>
                </a:cubicBezTo>
                <a:close/>
                <a:moveTo>
                  <a:pt x="1276249" y="6309925"/>
                </a:moveTo>
                <a:cubicBezTo>
                  <a:pt x="1276249" y="6398254"/>
                  <a:pt x="1276249" y="6398254"/>
                  <a:pt x="1276249" y="6398254"/>
                </a:cubicBezTo>
                <a:cubicBezTo>
                  <a:pt x="1287244" y="6398254"/>
                  <a:pt x="1287244" y="6398254"/>
                  <a:pt x="1287244" y="6398254"/>
                </a:cubicBezTo>
                <a:cubicBezTo>
                  <a:pt x="1287244" y="6322942"/>
                  <a:pt x="1287244" y="6322942"/>
                  <a:pt x="1287244" y="6322942"/>
                </a:cubicBezTo>
                <a:cubicBezTo>
                  <a:pt x="1312439" y="6398254"/>
                  <a:pt x="1312439" y="6398254"/>
                  <a:pt x="1312439" y="6398254"/>
                </a:cubicBezTo>
                <a:cubicBezTo>
                  <a:pt x="1322975" y="6398254"/>
                  <a:pt x="1322975" y="6398254"/>
                  <a:pt x="1322975" y="6398254"/>
                </a:cubicBezTo>
                <a:cubicBezTo>
                  <a:pt x="1348169" y="6324337"/>
                  <a:pt x="1348169" y="6324337"/>
                  <a:pt x="1348169" y="6324337"/>
                </a:cubicBezTo>
                <a:cubicBezTo>
                  <a:pt x="1348169" y="6398254"/>
                  <a:pt x="1348169" y="6398254"/>
                  <a:pt x="1348169" y="6398254"/>
                </a:cubicBezTo>
                <a:cubicBezTo>
                  <a:pt x="1359164" y="6398254"/>
                  <a:pt x="1359164" y="6398254"/>
                  <a:pt x="1359164" y="6398254"/>
                </a:cubicBezTo>
                <a:cubicBezTo>
                  <a:pt x="1359164" y="6309925"/>
                  <a:pt x="1359164" y="6309925"/>
                  <a:pt x="1359164" y="6309925"/>
                </a:cubicBezTo>
                <a:cubicBezTo>
                  <a:pt x="1343589" y="6309925"/>
                  <a:pt x="1343589" y="6309925"/>
                  <a:pt x="1343589" y="6309925"/>
                </a:cubicBezTo>
                <a:lnTo>
                  <a:pt x="1322975" y="6371291"/>
                </a:lnTo>
                <a:cubicBezTo>
                  <a:pt x="1320684" y="6377799"/>
                  <a:pt x="1319310" y="6382448"/>
                  <a:pt x="1318394" y="6385702"/>
                </a:cubicBezTo>
                <a:cubicBezTo>
                  <a:pt x="1317477" y="6382913"/>
                  <a:pt x="1316103" y="6378264"/>
                  <a:pt x="1314271" y="6372685"/>
                </a:cubicBezTo>
                <a:cubicBezTo>
                  <a:pt x="1293657" y="6309925"/>
                  <a:pt x="1293657" y="6309925"/>
                  <a:pt x="1293657" y="6309925"/>
                </a:cubicBezTo>
                <a:cubicBezTo>
                  <a:pt x="1276249" y="6309925"/>
                  <a:pt x="1276249" y="6309925"/>
                  <a:pt x="1276249" y="6309925"/>
                </a:cubicBezTo>
                <a:close/>
                <a:moveTo>
                  <a:pt x="483655" y="6309925"/>
                </a:moveTo>
                <a:cubicBezTo>
                  <a:pt x="483655" y="6398255"/>
                  <a:pt x="483655" y="6398255"/>
                  <a:pt x="483655" y="6398255"/>
                </a:cubicBezTo>
                <a:cubicBezTo>
                  <a:pt x="517110" y="6398255"/>
                  <a:pt x="517110" y="6398255"/>
                  <a:pt x="517110" y="6398255"/>
                </a:cubicBezTo>
                <a:cubicBezTo>
                  <a:pt x="522610" y="6398255"/>
                  <a:pt x="527193" y="6397790"/>
                  <a:pt x="530859" y="6396860"/>
                </a:cubicBezTo>
                <a:cubicBezTo>
                  <a:pt x="534983" y="6395930"/>
                  <a:pt x="538192" y="6394536"/>
                  <a:pt x="540483" y="6392676"/>
                </a:cubicBezTo>
                <a:cubicBezTo>
                  <a:pt x="543233" y="6390352"/>
                  <a:pt x="545066" y="6388027"/>
                  <a:pt x="546899" y="6384308"/>
                </a:cubicBezTo>
                <a:cubicBezTo>
                  <a:pt x="548732" y="6380589"/>
                  <a:pt x="549649" y="6376869"/>
                  <a:pt x="549649" y="6372685"/>
                </a:cubicBezTo>
                <a:cubicBezTo>
                  <a:pt x="549649" y="6367572"/>
                  <a:pt x="548274" y="6362923"/>
                  <a:pt x="545524" y="6359203"/>
                </a:cubicBezTo>
                <a:cubicBezTo>
                  <a:pt x="542316" y="6355485"/>
                  <a:pt x="538650" y="6352695"/>
                  <a:pt x="533150" y="6351301"/>
                </a:cubicBezTo>
                <a:cubicBezTo>
                  <a:pt x="537275" y="6349441"/>
                  <a:pt x="540483" y="6346652"/>
                  <a:pt x="542316" y="6343398"/>
                </a:cubicBezTo>
                <a:cubicBezTo>
                  <a:pt x="544149" y="6339679"/>
                  <a:pt x="545524" y="6336424"/>
                  <a:pt x="545524" y="6332705"/>
                </a:cubicBezTo>
                <a:cubicBezTo>
                  <a:pt x="545524" y="6328521"/>
                  <a:pt x="544149" y="6324802"/>
                  <a:pt x="541858" y="6321083"/>
                </a:cubicBezTo>
                <a:cubicBezTo>
                  <a:pt x="539566" y="6317363"/>
                  <a:pt x="536358" y="6314574"/>
                  <a:pt x="532692" y="6312714"/>
                </a:cubicBezTo>
                <a:cubicBezTo>
                  <a:pt x="528567" y="6310855"/>
                  <a:pt x="523068" y="6309925"/>
                  <a:pt x="516652" y="6309925"/>
                </a:cubicBezTo>
                <a:cubicBezTo>
                  <a:pt x="483655" y="6309925"/>
                  <a:pt x="483655" y="6309925"/>
                  <a:pt x="483655" y="6309925"/>
                </a:cubicBezTo>
                <a:close/>
                <a:moveTo>
                  <a:pt x="691439" y="6309087"/>
                </a:moveTo>
                <a:lnTo>
                  <a:pt x="691439" y="6323017"/>
                </a:lnTo>
                <a:lnTo>
                  <a:pt x="703872" y="6323017"/>
                </a:lnTo>
                <a:lnTo>
                  <a:pt x="703872" y="6309087"/>
                </a:lnTo>
                <a:close/>
                <a:moveTo>
                  <a:pt x="1227647" y="6308233"/>
                </a:moveTo>
                <a:cubicBezTo>
                  <a:pt x="1222575" y="6308233"/>
                  <a:pt x="1219347" y="6309166"/>
                  <a:pt x="1216580" y="6310565"/>
                </a:cubicBezTo>
                <a:cubicBezTo>
                  <a:pt x="1213814" y="6312431"/>
                  <a:pt x="1211970" y="6314763"/>
                  <a:pt x="1211048" y="6317561"/>
                </a:cubicBezTo>
                <a:cubicBezTo>
                  <a:pt x="1210125" y="6319894"/>
                  <a:pt x="1210125" y="6323159"/>
                  <a:pt x="1210125" y="6327356"/>
                </a:cubicBezTo>
                <a:cubicBezTo>
                  <a:pt x="1210125" y="6333887"/>
                  <a:pt x="1210125" y="6333887"/>
                  <a:pt x="1210125" y="6333887"/>
                </a:cubicBezTo>
                <a:cubicBezTo>
                  <a:pt x="1200442" y="6333887"/>
                  <a:pt x="1200442" y="6333887"/>
                  <a:pt x="1200442" y="6333887"/>
                </a:cubicBezTo>
                <a:cubicBezTo>
                  <a:pt x="1200442" y="6342749"/>
                  <a:pt x="1200442" y="6342749"/>
                  <a:pt x="1200442" y="6342749"/>
                </a:cubicBezTo>
                <a:cubicBezTo>
                  <a:pt x="1210125" y="6342749"/>
                  <a:pt x="1210125" y="6342749"/>
                  <a:pt x="1210125" y="6342749"/>
                </a:cubicBezTo>
                <a:cubicBezTo>
                  <a:pt x="1210125" y="6398254"/>
                  <a:pt x="1210125" y="6398254"/>
                  <a:pt x="1210125" y="6398254"/>
                </a:cubicBezTo>
                <a:cubicBezTo>
                  <a:pt x="1220731" y="6398254"/>
                  <a:pt x="1220731" y="6398254"/>
                  <a:pt x="1220731" y="6398254"/>
                </a:cubicBezTo>
                <a:cubicBezTo>
                  <a:pt x="1220731" y="6342749"/>
                  <a:pt x="1220731" y="6342749"/>
                  <a:pt x="1220731" y="6342749"/>
                </a:cubicBezTo>
                <a:cubicBezTo>
                  <a:pt x="1233181" y="6342749"/>
                  <a:pt x="1233181" y="6342749"/>
                  <a:pt x="1233181" y="6342749"/>
                </a:cubicBezTo>
                <a:cubicBezTo>
                  <a:pt x="1233181" y="6333887"/>
                  <a:pt x="1233181" y="6333887"/>
                  <a:pt x="1233181" y="6333887"/>
                </a:cubicBezTo>
                <a:cubicBezTo>
                  <a:pt x="1220731" y="6333887"/>
                  <a:pt x="1220731" y="6333887"/>
                  <a:pt x="1220731" y="6333887"/>
                </a:cubicBezTo>
                <a:cubicBezTo>
                  <a:pt x="1220731" y="6328289"/>
                  <a:pt x="1220731" y="6328289"/>
                  <a:pt x="1220731" y="6328289"/>
                </a:cubicBezTo>
                <a:cubicBezTo>
                  <a:pt x="1220731" y="6324091"/>
                  <a:pt x="1221192" y="6321759"/>
                  <a:pt x="1222575" y="6320360"/>
                </a:cubicBezTo>
                <a:cubicBezTo>
                  <a:pt x="1223958" y="6318961"/>
                  <a:pt x="1226264" y="6318028"/>
                  <a:pt x="1229492" y="6318028"/>
                </a:cubicBezTo>
                <a:cubicBezTo>
                  <a:pt x="1231798" y="6318028"/>
                  <a:pt x="1233642" y="6318494"/>
                  <a:pt x="1235947" y="6318494"/>
                </a:cubicBezTo>
                <a:cubicBezTo>
                  <a:pt x="1237331" y="6309166"/>
                  <a:pt x="1237331" y="6309166"/>
                  <a:pt x="1237331" y="6309166"/>
                </a:cubicBezTo>
                <a:cubicBezTo>
                  <a:pt x="1234103" y="6308699"/>
                  <a:pt x="1230414" y="6308233"/>
                  <a:pt x="1227647" y="6308233"/>
                </a:cubicBezTo>
                <a:close/>
                <a:moveTo>
                  <a:pt x="4343962" y="527037"/>
                </a:moveTo>
                <a:cubicBezTo>
                  <a:pt x="4359944" y="527037"/>
                  <a:pt x="4374045" y="529887"/>
                  <a:pt x="4386267" y="535587"/>
                </a:cubicBezTo>
                <a:cubicBezTo>
                  <a:pt x="4385326" y="552212"/>
                  <a:pt x="4380625" y="565037"/>
                  <a:pt x="4372164" y="574062"/>
                </a:cubicBezTo>
                <a:cubicBezTo>
                  <a:pt x="4363704" y="583087"/>
                  <a:pt x="4351952" y="587362"/>
                  <a:pt x="4336442" y="587362"/>
                </a:cubicBezTo>
                <a:cubicBezTo>
                  <a:pt x="4325630" y="587362"/>
                  <a:pt x="4317170" y="584512"/>
                  <a:pt x="4311058" y="579287"/>
                </a:cubicBezTo>
                <a:cubicBezTo>
                  <a:pt x="4304948" y="574537"/>
                  <a:pt x="4302127" y="566937"/>
                  <a:pt x="4302127" y="557437"/>
                </a:cubicBezTo>
                <a:cubicBezTo>
                  <a:pt x="4302127" y="547937"/>
                  <a:pt x="4305418" y="540337"/>
                  <a:pt x="4312470" y="534637"/>
                </a:cubicBezTo>
                <a:cubicBezTo>
                  <a:pt x="4319519" y="529412"/>
                  <a:pt x="4330330" y="527037"/>
                  <a:pt x="4343962" y="527037"/>
                </a:cubicBezTo>
                <a:close/>
                <a:moveTo>
                  <a:pt x="2099238" y="527037"/>
                </a:moveTo>
                <a:cubicBezTo>
                  <a:pt x="2115219" y="527037"/>
                  <a:pt x="2129320" y="529887"/>
                  <a:pt x="2141542" y="535587"/>
                </a:cubicBezTo>
                <a:cubicBezTo>
                  <a:pt x="2140602" y="552212"/>
                  <a:pt x="2135901" y="565037"/>
                  <a:pt x="2127440" y="574062"/>
                </a:cubicBezTo>
                <a:cubicBezTo>
                  <a:pt x="2118979" y="583087"/>
                  <a:pt x="2107228" y="587362"/>
                  <a:pt x="2091716" y="587362"/>
                </a:cubicBezTo>
                <a:cubicBezTo>
                  <a:pt x="2080905" y="587362"/>
                  <a:pt x="2072445" y="584512"/>
                  <a:pt x="2066334" y="579287"/>
                </a:cubicBezTo>
                <a:cubicBezTo>
                  <a:pt x="2060223" y="574537"/>
                  <a:pt x="2057404" y="566937"/>
                  <a:pt x="2057404" y="557437"/>
                </a:cubicBezTo>
                <a:cubicBezTo>
                  <a:pt x="2057404" y="547937"/>
                  <a:pt x="2060693" y="540337"/>
                  <a:pt x="2067744" y="534637"/>
                </a:cubicBezTo>
                <a:cubicBezTo>
                  <a:pt x="2074795" y="529412"/>
                  <a:pt x="2085606" y="527037"/>
                  <a:pt x="2099238" y="527037"/>
                </a:cubicBezTo>
                <a:close/>
                <a:moveTo>
                  <a:pt x="3708394" y="512749"/>
                </a:moveTo>
                <a:cubicBezTo>
                  <a:pt x="3708394" y="512749"/>
                  <a:pt x="3708394" y="512749"/>
                  <a:pt x="3767141" y="581703"/>
                </a:cubicBezTo>
                <a:cubicBezTo>
                  <a:pt x="3754349" y="590929"/>
                  <a:pt x="3740136" y="595299"/>
                  <a:pt x="3724029" y="595299"/>
                </a:cubicBezTo>
                <a:cubicBezTo>
                  <a:pt x="3710289" y="595299"/>
                  <a:pt x="3698919" y="591415"/>
                  <a:pt x="3689918" y="584616"/>
                </a:cubicBezTo>
                <a:cubicBezTo>
                  <a:pt x="3680916" y="577818"/>
                  <a:pt x="3676653" y="568106"/>
                  <a:pt x="3676653" y="556452"/>
                </a:cubicBezTo>
                <a:cubicBezTo>
                  <a:pt x="3676653" y="539942"/>
                  <a:pt x="3687075" y="524889"/>
                  <a:pt x="3708394" y="512749"/>
                </a:cubicBezTo>
                <a:close/>
                <a:moveTo>
                  <a:pt x="2481822" y="458774"/>
                </a:moveTo>
                <a:cubicBezTo>
                  <a:pt x="2492760" y="458774"/>
                  <a:pt x="2502747" y="461628"/>
                  <a:pt x="2510832" y="466860"/>
                </a:cubicBezTo>
                <a:cubicBezTo>
                  <a:pt x="2519393" y="471617"/>
                  <a:pt x="2526051" y="479227"/>
                  <a:pt x="2530807" y="488264"/>
                </a:cubicBezTo>
                <a:cubicBezTo>
                  <a:pt x="2535563" y="497301"/>
                  <a:pt x="2538416" y="508240"/>
                  <a:pt x="2538416" y="520131"/>
                </a:cubicBezTo>
                <a:cubicBezTo>
                  <a:pt x="2538416" y="532022"/>
                  <a:pt x="2535563" y="542486"/>
                  <a:pt x="2530807" y="551523"/>
                </a:cubicBezTo>
                <a:cubicBezTo>
                  <a:pt x="2526051" y="561036"/>
                  <a:pt x="2519393" y="568170"/>
                  <a:pt x="2510832" y="573402"/>
                </a:cubicBezTo>
                <a:cubicBezTo>
                  <a:pt x="2502747" y="578159"/>
                  <a:pt x="2492760" y="581013"/>
                  <a:pt x="2481822" y="581013"/>
                </a:cubicBezTo>
                <a:cubicBezTo>
                  <a:pt x="2470883" y="581013"/>
                  <a:pt x="2461372" y="578634"/>
                  <a:pt x="2452811" y="573402"/>
                </a:cubicBezTo>
                <a:cubicBezTo>
                  <a:pt x="2444251" y="568170"/>
                  <a:pt x="2437593" y="561036"/>
                  <a:pt x="2432837" y="551523"/>
                </a:cubicBezTo>
                <a:cubicBezTo>
                  <a:pt x="2428081" y="542486"/>
                  <a:pt x="2425703" y="532022"/>
                  <a:pt x="2425703" y="520131"/>
                </a:cubicBezTo>
                <a:cubicBezTo>
                  <a:pt x="2425703" y="507765"/>
                  <a:pt x="2428081" y="497301"/>
                  <a:pt x="2432837" y="488264"/>
                </a:cubicBezTo>
                <a:cubicBezTo>
                  <a:pt x="2437593" y="479227"/>
                  <a:pt x="2444251" y="471617"/>
                  <a:pt x="2452811" y="466860"/>
                </a:cubicBezTo>
                <a:cubicBezTo>
                  <a:pt x="2461372" y="461628"/>
                  <a:pt x="2470883" y="458774"/>
                  <a:pt x="2481822" y="458774"/>
                </a:cubicBezTo>
                <a:close/>
                <a:moveTo>
                  <a:pt x="3298660" y="452424"/>
                </a:moveTo>
                <a:cubicBezTo>
                  <a:pt x="3311909" y="452424"/>
                  <a:pt x="3322320" y="456210"/>
                  <a:pt x="3330364" y="462835"/>
                </a:cubicBezTo>
                <a:cubicBezTo>
                  <a:pt x="3338408" y="469933"/>
                  <a:pt x="3343613" y="480343"/>
                  <a:pt x="3345980" y="494066"/>
                </a:cubicBezTo>
                <a:cubicBezTo>
                  <a:pt x="3345980" y="495959"/>
                  <a:pt x="3346453" y="498798"/>
                  <a:pt x="3346453" y="501637"/>
                </a:cubicBezTo>
                <a:cubicBezTo>
                  <a:pt x="3346453" y="501637"/>
                  <a:pt x="3346453" y="501637"/>
                  <a:pt x="3248028" y="501637"/>
                </a:cubicBezTo>
                <a:cubicBezTo>
                  <a:pt x="3250394" y="486022"/>
                  <a:pt x="3256072" y="474192"/>
                  <a:pt x="3264590" y="465201"/>
                </a:cubicBezTo>
                <a:cubicBezTo>
                  <a:pt x="3273107" y="456683"/>
                  <a:pt x="3284464" y="452424"/>
                  <a:pt x="3298660" y="452424"/>
                </a:cubicBezTo>
                <a:close/>
                <a:moveTo>
                  <a:pt x="2704935" y="452424"/>
                </a:moveTo>
                <a:cubicBezTo>
                  <a:pt x="2718184" y="452424"/>
                  <a:pt x="2728595" y="456210"/>
                  <a:pt x="2736639" y="462835"/>
                </a:cubicBezTo>
                <a:cubicBezTo>
                  <a:pt x="2744684" y="469933"/>
                  <a:pt x="2749889" y="480343"/>
                  <a:pt x="2752255" y="494066"/>
                </a:cubicBezTo>
                <a:cubicBezTo>
                  <a:pt x="2752728" y="495959"/>
                  <a:pt x="2752728" y="498798"/>
                  <a:pt x="2752728" y="501637"/>
                </a:cubicBezTo>
                <a:cubicBezTo>
                  <a:pt x="2752728" y="501637"/>
                  <a:pt x="2752728" y="501637"/>
                  <a:pt x="2654303" y="501637"/>
                </a:cubicBezTo>
                <a:cubicBezTo>
                  <a:pt x="2656669" y="486022"/>
                  <a:pt x="2662347" y="474192"/>
                  <a:pt x="2670865" y="465201"/>
                </a:cubicBezTo>
                <a:cubicBezTo>
                  <a:pt x="2679856" y="456683"/>
                  <a:pt x="2691212" y="452424"/>
                  <a:pt x="2704935" y="452424"/>
                </a:cubicBezTo>
                <a:close/>
                <a:moveTo>
                  <a:pt x="1539880" y="423851"/>
                </a:moveTo>
                <a:cubicBezTo>
                  <a:pt x="1539880" y="423851"/>
                  <a:pt x="1539880" y="423851"/>
                  <a:pt x="1621823" y="609897"/>
                </a:cubicBezTo>
                <a:cubicBezTo>
                  <a:pt x="1615665" y="624723"/>
                  <a:pt x="1609034" y="634288"/>
                  <a:pt x="1602403" y="639549"/>
                </a:cubicBezTo>
                <a:cubicBezTo>
                  <a:pt x="1596245" y="644810"/>
                  <a:pt x="1587719" y="647680"/>
                  <a:pt x="1576825" y="647680"/>
                </a:cubicBezTo>
                <a:cubicBezTo>
                  <a:pt x="1572089" y="647680"/>
                  <a:pt x="1566878" y="646723"/>
                  <a:pt x="1561668" y="645289"/>
                </a:cubicBezTo>
                <a:cubicBezTo>
                  <a:pt x="1555984" y="643854"/>
                  <a:pt x="1551248" y="642419"/>
                  <a:pt x="1546985" y="640984"/>
                </a:cubicBezTo>
                <a:cubicBezTo>
                  <a:pt x="1546985" y="640984"/>
                  <a:pt x="1546985" y="640984"/>
                  <a:pt x="1546985" y="680680"/>
                </a:cubicBezTo>
                <a:cubicBezTo>
                  <a:pt x="1551721" y="682115"/>
                  <a:pt x="1556932" y="684028"/>
                  <a:pt x="1563089" y="685463"/>
                </a:cubicBezTo>
                <a:cubicBezTo>
                  <a:pt x="1568773" y="686898"/>
                  <a:pt x="1574457" y="687376"/>
                  <a:pt x="1579667" y="687376"/>
                </a:cubicBezTo>
                <a:cubicBezTo>
                  <a:pt x="1591035" y="687376"/>
                  <a:pt x="1601929" y="685463"/>
                  <a:pt x="1611876" y="681159"/>
                </a:cubicBezTo>
                <a:cubicBezTo>
                  <a:pt x="1621823" y="677332"/>
                  <a:pt x="1630822" y="669680"/>
                  <a:pt x="1639822" y="658680"/>
                </a:cubicBezTo>
                <a:cubicBezTo>
                  <a:pt x="1648348" y="647680"/>
                  <a:pt x="1656874" y="631897"/>
                  <a:pt x="1665400" y="611332"/>
                </a:cubicBezTo>
                <a:cubicBezTo>
                  <a:pt x="1665400" y="611332"/>
                  <a:pt x="1665400" y="611332"/>
                  <a:pt x="1743080" y="423851"/>
                </a:cubicBezTo>
                <a:cubicBezTo>
                  <a:pt x="1743080" y="423851"/>
                  <a:pt x="1743080" y="423851"/>
                  <a:pt x="1699977" y="423851"/>
                </a:cubicBezTo>
                <a:cubicBezTo>
                  <a:pt x="1699977" y="423851"/>
                  <a:pt x="1699977" y="423851"/>
                  <a:pt x="1644558" y="558722"/>
                </a:cubicBezTo>
                <a:cubicBezTo>
                  <a:pt x="1644558" y="558722"/>
                  <a:pt x="1644558" y="558722"/>
                  <a:pt x="1585351" y="423851"/>
                </a:cubicBezTo>
                <a:cubicBezTo>
                  <a:pt x="1585351" y="423851"/>
                  <a:pt x="1585351" y="423851"/>
                  <a:pt x="1539880" y="423851"/>
                </a:cubicBezTo>
                <a:close/>
                <a:moveTo>
                  <a:pt x="1339855" y="423851"/>
                </a:moveTo>
                <a:cubicBezTo>
                  <a:pt x="1339855" y="423851"/>
                  <a:pt x="1339855" y="423851"/>
                  <a:pt x="1339855" y="543777"/>
                </a:cubicBezTo>
                <a:cubicBezTo>
                  <a:pt x="1339855" y="568622"/>
                  <a:pt x="1345554" y="587734"/>
                  <a:pt x="1356953" y="601112"/>
                </a:cubicBezTo>
                <a:cubicBezTo>
                  <a:pt x="1368351" y="614012"/>
                  <a:pt x="1384499" y="620701"/>
                  <a:pt x="1405870" y="620701"/>
                </a:cubicBezTo>
                <a:cubicBezTo>
                  <a:pt x="1420593" y="620701"/>
                  <a:pt x="1432941" y="617834"/>
                  <a:pt x="1443865" y="611623"/>
                </a:cubicBezTo>
                <a:cubicBezTo>
                  <a:pt x="1454788" y="605412"/>
                  <a:pt x="1462387" y="596812"/>
                  <a:pt x="1467611" y="585345"/>
                </a:cubicBezTo>
                <a:cubicBezTo>
                  <a:pt x="1467611" y="585345"/>
                  <a:pt x="1467611" y="585345"/>
                  <a:pt x="1468561" y="614968"/>
                </a:cubicBezTo>
                <a:cubicBezTo>
                  <a:pt x="1468561" y="614968"/>
                  <a:pt x="1468561" y="614968"/>
                  <a:pt x="1511305" y="614968"/>
                </a:cubicBezTo>
                <a:cubicBezTo>
                  <a:pt x="1511305" y="614968"/>
                  <a:pt x="1511305" y="614968"/>
                  <a:pt x="1511305" y="423851"/>
                </a:cubicBezTo>
                <a:cubicBezTo>
                  <a:pt x="1511305" y="423851"/>
                  <a:pt x="1511305" y="423851"/>
                  <a:pt x="1467137" y="423851"/>
                </a:cubicBezTo>
                <a:cubicBezTo>
                  <a:pt x="1467137" y="423851"/>
                  <a:pt x="1467137" y="423851"/>
                  <a:pt x="1467137" y="528010"/>
                </a:cubicBezTo>
                <a:cubicBezTo>
                  <a:pt x="1467137" y="544255"/>
                  <a:pt x="1462862" y="557155"/>
                  <a:pt x="1455263" y="566711"/>
                </a:cubicBezTo>
                <a:cubicBezTo>
                  <a:pt x="1447664" y="576267"/>
                  <a:pt x="1436741" y="581044"/>
                  <a:pt x="1422968" y="581044"/>
                </a:cubicBezTo>
                <a:cubicBezTo>
                  <a:pt x="1409195" y="581044"/>
                  <a:pt x="1399221" y="577222"/>
                  <a:pt x="1393522" y="569577"/>
                </a:cubicBezTo>
                <a:cubicBezTo>
                  <a:pt x="1387348" y="561933"/>
                  <a:pt x="1384499" y="549988"/>
                  <a:pt x="1384499" y="533265"/>
                </a:cubicBezTo>
                <a:cubicBezTo>
                  <a:pt x="1384499" y="533265"/>
                  <a:pt x="1384499" y="533265"/>
                  <a:pt x="1384499" y="423851"/>
                </a:cubicBezTo>
                <a:cubicBezTo>
                  <a:pt x="1384499" y="423851"/>
                  <a:pt x="1384499" y="423851"/>
                  <a:pt x="1339855" y="423851"/>
                </a:cubicBezTo>
                <a:close/>
                <a:moveTo>
                  <a:pt x="3528512" y="420676"/>
                </a:moveTo>
                <a:cubicBezTo>
                  <a:pt x="3515636" y="420676"/>
                  <a:pt x="3503715" y="424523"/>
                  <a:pt x="3493700" y="432218"/>
                </a:cubicBezTo>
                <a:cubicBezTo>
                  <a:pt x="3483210" y="439913"/>
                  <a:pt x="3475581" y="450494"/>
                  <a:pt x="3470335" y="463480"/>
                </a:cubicBezTo>
                <a:cubicBezTo>
                  <a:pt x="3470335" y="463480"/>
                  <a:pt x="3470335" y="463480"/>
                  <a:pt x="3470335" y="423561"/>
                </a:cubicBezTo>
                <a:cubicBezTo>
                  <a:pt x="3470335" y="423561"/>
                  <a:pt x="3470335" y="423561"/>
                  <a:pt x="3427417" y="423561"/>
                </a:cubicBezTo>
                <a:cubicBezTo>
                  <a:pt x="3427417" y="423561"/>
                  <a:pt x="3427417" y="423561"/>
                  <a:pt x="3427417" y="615939"/>
                </a:cubicBezTo>
                <a:lnTo>
                  <a:pt x="3472242" y="615939"/>
                </a:lnTo>
                <a:cubicBezTo>
                  <a:pt x="3472242" y="615939"/>
                  <a:pt x="3472242" y="615939"/>
                  <a:pt x="3472242" y="526002"/>
                </a:cubicBezTo>
                <a:cubicBezTo>
                  <a:pt x="3472242" y="505322"/>
                  <a:pt x="3476534" y="489931"/>
                  <a:pt x="3485118" y="478870"/>
                </a:cubicBezTo>
                <a:cubicBezTo>
                  <a:pt x="3493700" y="468289"/>
                  <a:pt x="3506576" y="462999"/>
                  <a:pt x="3522789" y="462999"/>
                </a:cubicBezTo>
                <a:cubicBezTo>
                  <a:pt x="3528034" y="462999"/>
                  <a:pt x="3533279" y="463480"/>
                  <a:pt x="3539002" y="464441"/>
                </a:cubicBezTo>
                <a:cubicBezTo>
                  <a:pt x="3544725" y="464922"/>
                  <a:pt x="3549017" y="466365"/>
                  <a:pt x="3552831" y="467327"/>
                </a:cubicBezTo>
                <a:cubicBezTo>
                  <a:pt x="3552831" y="467327"/>
                  <a:pt x="3552831" y="467327"/>
                  <a:pt x="3552831" y="424523"/>
                </a:cubicBezTo>
                <a:cubicBezTo>
                  <a:pt x="3549970" y="423080"/>
                  <a:pt x="3546155" y="422118"/>
                  <a:pt x="3541386" y="421638"/>
                </a:cubicBezTo>
                <a:cubicBezTo>
                  <a:pt x="3536141" y="421156"/>
                  <a:pt x="3532326" y="420676"/>
                  <a:pt x="3528512" y="420676"/>
                </a:cubicBezTo>
                <a:close/>
                <a:moveTo>
                  <a:pt x="2328578" y="420676"/>
                </a:moveTo>
                <a:cubicBezTo>
                  <a:pt x="2315817" y="420676"/>
                  <a:pt x="2304474" y="424523"/>
                  <a:pt x="2294076" y="432218"/>
                </a:cubicBezTo>
                <a:cubicBezTo>
                  <a:pt x="2283679" y="439914"/>
                  <a:pt x="2276116" y="450494"/>
                  <a:pt x="2271391" y="463480"/>
                </a:cubicBezTo>
                <a:cubicBezTo>
                  <a:pt x="2271391" y="463480"/>
                  <a:pt x="2271391" y="463480"/>
                  <a:pt x="2270919" y="423562"/>
                </a:cubicBezTo>
                <a:cubicBezTo>
                  <a:pt x="2270919" y="423562"/>
                  <a:pt x="2270919" y="423562"/>
                  <a:pt x="2228855" y="423562"/>
                </a:cubicBezTo>
                <a:cubicBezTo>
                  <a:pt x="2228855" y="423562"/>
                  <a:pt x="2228855" y="423562"/>
                  <a:pt x="2228855" y="615939"/>
                </a:cubicBezTo>
                <a:lnTo>
                  <a:pt x="2272809" y="615939"/>
                </a:lnTo>
                <a:cubicBezTo>
                  <a:pt x="2272809" y="615939"/>
                  <a:pt x="2272809" y="615939"/>
                  <a:pt x="2272809" y="526003"/>
                </a:cubicBezTo>
                <a:cubicBezTo>
                  <a:pt x="2272809" y="505322"/>
                  <a:pt x="2277062" y="489932"/>
                  <a:pt x="2285570" y="478870"/>
                </a:cubicBezTo>
                <a:cubicBezTo>
                  <a:pt x="2294550" y="468289"/>
                  <a:pt x="2306837" y="462999"/>
                  <a:pt x="2323378" y="462999"/>
                </a:cubicBezTo>
                <a:cubicBezTo>
                  <a:pt x="2328104" y="462999"/>
                  <a:pt x="2333303" y="463480"/>
                  <a:pt x="2338975" y="464442"/>
                </a:cubicBezTo>
                <a:cubicBezTo>
                  <a:pt x="2344645" y="464923"/>
                  <a:pt x="2349372" y="466366"/>
                  <a:pt x="2352680" y="467327"/>
                </a:cubicBezTo>
                <a:cubicBezTo>
                  <a:pt x="2352680" y="467327"/>
                  <a:pt x="2352680" y="467327"/>
                  <a:pt x="2352680" y="424523"/>
                </a:cubicBezTo>
                <a:cubicBezTo>
                  <a:pt x="2349845" y="423081"/>
                  <a:pt x="2346064" y="422119"/>
                  <a:pt x="2341337" y="421638"/>
                </a:cubicBezTo>
                <a:cubicBezTo>
                  <a:pt x="2336612" y="421157"/>
                  <a:pt x="2332357" y="420676"/>
                  <a:pt x="2328578" y="420676"/>
                </a:cubicBezTo>
                <a:close/>
                <a:moveTo>
                  <a:pt x="4574980" y="420675"/>
                </a:moveTo>
                <a:cubicBezTo>
                  <a:pt x="4562268" y="420675"/>
                  <a:pt x="4550499" y="424492"/>
                  <a:pt x="4540610" y="432601"/>
                </a:cubicBezTo>
                <a:cubicBezTo>
                  <a:pt x="4530253" y="440234"/>
                  <a:pt x="4522719" y="450251"/>
                  <a:pt x="4517539" y="463608"/>
                </a:cubicBezTo>
                <a:cubicBezTo>
                  <a:pt x="4517539" y="463608"/>
                  <a:pt x="4517539" y="463608"/>
                  <a:pt x="4517539" y="424015"/>
                </a:cubicBezTo>
                <a:cubicBezTo>
                  <a:pt x="4517539" y="424015"/>
                  <a:pt x="4517539" y="424015"/>
                  <a:pt x="4475165" y="424015"/>
                </a:cubicBezTo>
                <a:cubicBezTo>
                  <a:pt x="4475165" y="424015"/>
                  <a:pt x="4475165" y="424015"/>
                  <a:pt x="4475165" y="614350"/>
                </a:cubicBezTo>
                <a:lnTo>
                  <a:pt x="4519424" y="614350"/>
                </a:lnTo>
                <a:cubicBezTo>
                  <a:pt x="4519424" y="614350"/>
                  <a:pt x="4519424" y="614350"/>
                  <a:pt x="4519424" y="525145"/>
                </a:cubicBezTo>
                <a:cubicBezTo>
                  <a:pt x="4519424" y="505110"/>
                  <a:pt x="4523660" y="489368"/>
                  <a:pt x="4532136" y="478873"/>
                </a:cubicBezTo>
                <a:cubicBezTo>
                  <a:pt x="4540610" y="467901"/>
                  <a:pt x="4553322" y="462654"/>
                  <a:pt x="4569330" y="462654"/>
                </a:cubicBezTo>
                <a:cubicBezTo>
                  <a:pt x="4574510" y="462654"/>
                  <a:pt x="4579688" y="463131"/>
                  <a:pt x="4585338" y="464085"/>
                </a:cubicBezTo>
                <a:cubicBezTo>
                  <a:pt x="4590987" y="465039"/>
                  <a:pt x="4595227" y="465993"/>
                  <a:pt x="4598993" y="466947"/>
                </a:cubicBezTo>
                <a:cubicBezTo>
                  <a:pt x="4598993" y="466947"/>
                  <a:pt x="4598993" y="466947"/>
                  <a:pt x="4598993" y="424492"/>
                </a:cubicBezTo>
                <a:cubicBezTo>
                  <a:pt x="4596166" y="423537"/>
                  <a:pt x="4592399" y="422583"/>
                  <a:pt x="4587220" y="421629"/>
                </a:cubicBezTo>
                <a:cubicBezTo>
                  <a:pt x="4582512" y="421152"/>
                  <a:pt x="4578747" y="420675"/>
                  <a:pt x="4574980" y="420675"/>
                </a:cubicBezTo>
                <a:close/>
                <a:moveTo>
                  <a:pt x="3301042" y="419089"/>
                </a:moveTo>
                <a:cubicBezTo>
                  <a:pt x="3282533" y="419089"/>
                  <a:pt x="3265920" y="423368"/>
                  <a:pt x="3251208" y="431927"/>
                </a:cubicBezTo>
                <a:cubicBezTo>
                  <a:pt x="3236969" y="440486"/>
                  <a:pt x="3225578" y="452374"/>
                  <a:pt x="3217509" y="467590"/>
                </a:cubicBezTo>
                <a:cubicBezTo>
                  <a:pt x="3208968" y="482806"/>
                  <a:pt x="3205171" y="500400"/>
                  <a:pt x="3205171" y="520371"/>
                </a:cubicBezTo>
                <a:cubicBezTo>
                  <a:pt x="3205171" y="542244"/>
                  <a:pt x="3209442" y="560313"/>
                  <a:pt x="3218934" y="575529"/>
                </a:cubicBezTo>
                <a:cubicBezTo>
                  <a:pt x="3227952" y="590270"/>
                  <a:pt x="3240766" y="601682"/>
                  <a:pt x="3256428" y="609290"/>
                </a:cubicBezTo>
                <a:cubicBezTo>
                  <a:pt x="3272565" y="616898"/>
                  <a:pt x="3291076" y="620702"/>
                  <a:pt x="3311484" y="620702"/>
                </a:cubicBezTo>
                <a:cubicBezTo>
                  <a:pt x="3324299" y="620702"/>
                  <a:pt x="3337113" y="618800"/>
                  <a:pt x="3349453" y="614520"/>
                </a:cubicBezTo>
                <a:cubicBezTo>
                  <a:pt x="3362268" y="610716"/>
                  <a:pt x="3373184" y="605010"/>
                  <a:pt x="3383150" y="598353"/>
                </a:cubicBezTo>
                <a:cubicBezTo>
                  <a:pt x="3383150" y="559362"/>
                  <a:pt x="3383150" y="559362"/>
                  <a:pt x="3383150" y="559362"/>
                </a:cubicBezTo>
                <a:cubicBezTo>
                  <a:pt x="3362742" y="574578"/>
                  <a:pt x="3339961" y="582186"/>
                  <a:pt x="3315280" y="582186"/>
                </a:cubicBezTo>
                <a:cubicBezTo>
                  <a:pt x="3296296" y="582186"/>
                  <a:pt x="3280634" y="577906"/>
                  <a:pt x="3269243" y="568872"/>
                </a:cubicBezTo>
                <a:cubicBezTo>
                  <a:pt x="3257853" y="559837"/>
                  <a:pt x="3251208" y="547474"/>
                  <a:pt x="3248360" y="531783"/>
                </a:cubicBezTo>
                <a:cubicBezTo>
                  <a:pt x="3387896" y="531783"/>
                  <a:pt x="3387896" y="531783"/>
                  <a:pt x="3387896" y="531783"/>
                </a:cubicBezTo>
                <a:cubicBezTo>
                  <a:pt x="3388372" y="527028"/>
                  <a:pt x="3388372" y="523224"/>
                  <a:pt x="3388845" y="520371"/>
                </a:cubicBezTo>
                <a:cubicBezTo>
                  <a:pt x="3388845" y="517993"/>
                  <a:pt x="3389319" y="515616"/>
                  <a:pt x="3389319" y="512763"/>
                </a:cubicBezTo>
                <a:cubicBezTo>
                  <a:pt x="3389319" y="493743"/>
                  <a:pt x="3385524" y="477575"/>
                  <a:pt x="3378404" y="463310"/>
                </a:cubicBezTo>
                <a:cubicBezTo>
                  <a:pt x="3370810" y="449521"/>
                  <a:pt x="3360844" y="438584"/>
                  <a:pt x="3347554" y="430501"/>
                </a:cubicBezTo>
                <a:cubicBezTo>
                  <a:pt x="3334265" y="422893"/>
                  <a:pt x="3318602" y="419089"/>
                  <a:pt x="3301042" y="419089"/>
                </a:cubicBezTo>
                <a:close/>
                <a:moveTo>
                  <a:pt x="2706490" y="419089"/>
                </a:moveTo>
                <a:cubicBezTo>
                  <a:pt x="2688140" y="419089"/>
                  <a:pt x="2671672" y="423368"/>
                  <a:pt x="2657556" y="431927"/>
                </a:cubicBezTo>
                <a:cubicBezTo>
                  <a:pt x="2642969" y="440486"/>
                  <a:pt x="2631677" y="452374"/>
                  <a:pt x="2623678" y="467590"/>
                </a:cubicBezTo>
                <a:cubicBezTo>
                  <a:pt x="2615679" y="482806"/>
                  <a:pt x="2611445" y="500399"/>
                  <a:pt x="2611445" y="520371"/>
                </a:cubicBezTo>
                <a:cubicBezTo>
                  <a:pt x="2611445" y="542244"/>
                  <a:pt x="2616150" y="560313"/>
                  <a:pt x="2625091" y="575529"/>
                </a:cubicBezTo>
                <a:cubicBezTo>
                  <a:pt x="2634030" y="590269"/>
                  <a:pt x="2646734" y="601681"/>
                  <a:pt x="2662731" y="609290"/>
                </a:cubicBezTo>
                <a:cubicBezTo>
                  <a:pt x="2678258" y="616897"/>
                  <a:pt x="2696609" y="620701"/>
                  <a:pt x="2716842" y="620701"/>
                </a:cubicBezTo>
                <a:cubicBezTo>
                  <a:pt x="2729546" y="620701"/>
                  <a:pt x="2742251" y="618799"/>
                  <a:pt x="2754483" y="614520"/>
                </a:cubicBezTo>
                <a:cubicBezTo>
                  <a:pt x="2767188" y="610716"/>
                  <a:pt x="2778480" y="605010"/>
                  <a:pt x="2787891" y="598353"/>
                </a:cubicBezTo>
                <a:cubicBezTo>
                  <a:pt x="2787891" y="559362"/>
                  <a:pt x="2787891" y="559362"/>
                  <a:pt x="2787891" y="559362"/>
                </a:cubicBezTo>
                <a:cubicBezTo>
                  <a:pt x="2767658" y="574578"/>
                  <a:pt x="2745073" y="582186"/>
                  <a:pt x="2721077" y="582186"/>
                </a:cubicBezTo>
                <a:cubicBezTo>
                  <a:pt x="2701786" y="582186"/>
                  <a:pt x="2686729" y="577906"/>
                  <a:pt x="2675436" y="568872"/>
                </a:cubicBezTo>
                <a:cubicBezTo>
                  <a:pt x="2664144" y="559837"/>
                  <a:pt x="2657085" y="547474"/>
                  <a:pt x="2654262" y="531783"/>
                </a:cubicBezTo>
                <a:cubicBezTo>
                  <a:pt x="2792597" y="531783"/>
                  <a:pt x="2792597" y="531783"/>
                  <a:pt x="2792597" y="531783"/>
                </a:cubicBezTo>
                <a:cubicBezTo>
                  <a:pt x="2793067" y="527028"/>
                  <a:pt x="2793537" y="523224"/>
                  <a:pt x="2793537" y="520371"/>
                </a:cubicBezTo>
                <a:cubicBezTo>
                  <a:pt x="2794007" y="517993"/>
                  <a:pt x="2794007" y="515616"/>
                  <a:pt x="2794007" y="512763"/>
                </a:cubicBezTo>
                <a:cubicBezTo>
                  <a:pt x="2794007" y="493742"/>
                  <a:pt x="2790243" y="477575"/>
                  <a:pt x="2783185" y="463310"/>
                </a:cubicBezTo>
                <a:cubicBezTo>
                  <a:pt x="2776127" y="449521"/>
                  <a:pt x="2765775" y="438584"/>
                  <a:pt x="2752603" y="430501"/>
                </a:cubicBezTo>
                <a:cubicBezTo>
                  <a:pt x="2739427" y="422893"/>
                  <a:pt x="2724371" y="419089"/>
                  <a:pt x="2706490" y="419089"/>
                </a:cubicBezTo>
                <a:close/>
                <a:moveTo>
                  <a:pt x="2936942" y="419088"/>
                </a:moveTo>
                <a:cubicBezTo>
                  <a:pt x="2923206" y="419088"/>
                  <a:pt x="2910893" y="421955"/>
                  <a:pt x="2900000" y="428644"/>
                </a:cubicBezTo>
                <a:cubicBezTo>
                  <a:pt x="2889581" y="434855"/>
                  <a:pt x="2881528" y="443933"/>
                  <a:pt x="2876319" y="455400"/>
                </a:cubicBezTo>
                <a:cubicBezTo>
                  <a:pt x="2876319" y="455400"/>
                  <a:pt x="2876319" y="455400"/>
                  <a:pt x="2876319" y="424821"/>
                </a:cubicBezTo>
                <a:cubicBezTo>
                  <a:pt x="2876319" y="424821"/>
                  <a:pt x="2876319" y="424821"/>
                  <a:pt x="2833693" y="424821"/>
                </a:cubicBezTo>
                <a:cubicBezTo>
                  <a:pt x="2833693" y="424821"/>
                  <a:pt x="2833693" y="424821"/>
                  <a:pt x="2833693" y="615938"/>
                </a:cubicBezTo>
                <a:lnTo>
                  <a:pt x="2877740" y="615938"/>
                </a:lnTo>
                <a:cubicBezTo>
                  <a:pt x="2877740" y="615938"/>
                  <a:pt x="2877740" y="615938"/>
                  <a:pt x="2877740" y="512257"/>
                </a:cubicBezTo>
                <a:cubicBezTo>
                  <a:pt x="2877740" y="495057"/>
                  <a:pt x="2881528" y="482156"/>
                  <a:pt x="2889581" y="472600"/>
                </a:cubicBezTo>
                <a:cubicBezTo>
                  <a:pt x="2897631" y="463522"/>
                  <a:pt x="2908525" y="458744"/>
                  <a:pt x="2922733" y="458744"/>
                </a:cubicBezTo>
                <a:cubicBezTo>
                  <a:pt x="2947836" y="458744"/>
                  <a:pt x="2960622" y="475467"/>
                  <a:pt x="2960622" y="508435"/>
                </a:cubicBezTo>
                <a:cubicBezTo>
                  <a:pt x="2960622" y="508435"/>
                  <a:pt x="2960622" y="508435"/>
                  <a:pt x="2960622" y="615938"/>
                </a:cubicBezTo>
                <a:cubicBezTo>
                  <a:pt x="2960622" y="615938"/>
                  <a:pt x="2960622" y="615938"/>
                  <a:pt x="3005143" y="615938"/>
                </a:cubicBezTo>
                <a:cubicBezTo>
                  <a:pt x="3005143" y="615938"/>
                  <a:pt x="3005143" y="615938"/>
                  <a:pt x="3005143" y="500312"/>
                </a:cubicBezTo>
                <a:cubicBezTo>
                  <a:pt x="3005143" y="474034"/>
                  <a:pt x="2998987" y="453967"/>
                  <a:pt x="2987146" y="440111"/>
                </a:cubicBezTo>
                <a:cubicBezTo>
                  <a:pt x="2975306" y="425777"/>
                  <a:pt x="2958728" y="419088"/>
                  <a:pt x="2936942" y="419088"/>
                </a:cubicBezTo>
                <a:close/>
                <a:moveTo>
                  <a:pt x="2494307" y="419088"/>
                </a:moveTo>
                <a:cubicBezTo>
                  <a:pt x="2479626" y="419088"/>
                  <a:pt x="2466364" y="422426"/>
                  <a:pt x="2454998" y="428625"/>
                </a:cubicBezTo>
                <a:cubicBezTo>
                  <a:pt x="2443158" y="435300"/>
                  <a:pt x="2434160" y="444837"/>
                  <a:pt x="2427056" y="457234"/>
                </a:cubicBezTo>
                <a:cubicBezTo>
                  <a:pt x="2426582" y="424810"/>
                  <a:pt x="2426582" y="424810"/>
                  <a:pt x="2426582" y="424810"/>
                </a:cubicBezTo>
                <a:cubicBezTo>
                  <a:pt x="2384431" y="424810"/>
                  <a:pt x="2384431" y="424810"/>
                  <a:pt x="2384431" y="424810"/>
                </a:cubicBezTo>
                <a:cubicBezTo>
                  <a:pt x="2384431" y="684201"/>
                  <a:pt x="2384431" y="684201"/>
                  <a:pt x="2384431" y="684201"/>
                </a:cubicBezTo>
                <a:cubicBezTo>
                  <a:pt x="2428476" y="684201"/>
                  <a:pt x="2428476" y="684201"/>
                  <a:pt x="2428476" y="684201"/>
                </a:cubicBezTo>
                <a:cubicBezTo>
                  <a:pt x="2428476" y="586453"/>
                  <a:pt x="2428476" y="586453"/>
                  <a:pt x="2428476" y="586453"/>
                </a:cubicBezTo>
                <a:cubicBezTo>
                  <a:pt x="2435107" y="597897"/>
                  <a:pt x="2444105" y="606479"/>
                  <a:pt x="2454998" y="612201"/>
                </a:cubicBezTo>
                <a:cubicBezTo>
                  <a:pt x="2465890" y="618400"/>
                  <a:pt x="2477731" y="621261"/>
                  <a:pt x="2491466" y="621261"/>
                </a:cubicBezTo>
                <a:cubicBezTo>
                  <a:pt x="2503778" y="621261"/>
                  <a:pt x="2515619" y="618877"/>
                  <a:pt x="2526985" y="613632"/>
                </a:cubicBezTo>
                <a:cubicBezTo>
                  <a:pt x="2537878" y="608387"/>
                  <a:pt x="2547823" y="601234"/>
                  <a:pt x="2555875" y="592175"/>
                </a:cubicBezTo>
                <a:cubicBezTo>
                  <a:pt x="2564399" y="582638"/>
                  <a:pt x="2571030" y="572148"/>
                  <a:pt x="2575766" y="559751"/>
                </a:cubicBezTo>
                <a:cubicBezTo>
                  <a:pt x="2580501" y="547354"/>
                  <a:pt x="2582870" y="534003"/>
                  <a:pt x="2582870" y="519698"/>
                </a:cubicBezTo>
                <a:cubicBezTo>
                  <a:pt x="2582870" y="500148"/>
                  <a:pt x="2579081" y="482506"/>
                  <a:pt x="2571503" y="467724"/>
                </a:cubicBezTo>
                <a:cubicBezTo>
                  <a:pt x="2563925" y="452466"/>
                  <a:pt x="2553506" y="440545"/>
                  <a:pt x="2540245" y="431963"/>
                </a:cubicBezTo>
                <a:cubicBezTo>
                  <a:pt x="2526985" y="423380"/>
                  <a:pt x="2511357" y="419088"/>
                  <a:pt x="2494307" y="419088"/>
                </a:cubicBezTo>
                <a:close/>
                <a:moveTo>
                  <a:pt x="2095707" y="419088"/>
                </a:moveTo>
                <a:cubicBezTo>
                  <a:pt x="2083465" y="419088"/>
                  <a:pt x="2071222" y="420515"/>
                  <a:pt x="2059921" y="424319"/>
                </a:cubicBezTo>
                <a:cubicBezTo>
                  <a:pt x="2048620" y="427647"/>
                  <a:pt x="2038732" y="431927"/>
                  <a:pt x="2029785" y="437157"/>
                </a:cubicBezTo>
                <a:cubicBezTo>
                  <a:pt x="2029785" y="476149"/>
                  <a:pt x="2029785" y="476149"/>
                  <a:pt x="2029785" y="476149"/>
                </a:cubicBezTo>
                <a:cubicBezTo>
                  <a:pt x="2039203" y="469967"/>
                  <a:pt x="2049091" y="465212"/>
                  <a:pt x="2059921" y="461884"/>
                </a:cubicBezTo>
                <a:cubicBezTo>
                  <a:pt x="2070751" y="458555"/>
                  <a:pt x="2081110" y="456653"/>
                  <a:pt x="2091469" y="456653"/>
                </a:cubicBezTo>
                <a:cubicBezTo>
                  <a:pt x="2108894" y="456653"/>
                  <a:pt x="2121607" y="460933"/>
                  <a:pt x="2130082" y="469492"/>
                </a:cubicBezTo>
                <a:cubicBezTo>
                  <a:pt x="2138558" y="477575"/>
                  <a:pt x="2142325" y="489938"/>
                  <a:pt x="2142325" y="505630"/>
                </a:cubicBezTo>
                <a:cubicBezTo>
                  <a:pt x="2142325" y="506581"/>
                  <a:pt x="2142325" y="506581"/>
                  <a:pt x="2142325" y="506581"/>
                </a:cubicBezTo>
                <a:cubicBezTo>
                  <a:pt x="2127727" y="499924"/>
                  <a:pt x="2110776" y="497071"/>
                  <a:pt x="2092882" y="497071"/>
                </a:cubicBezTo>
                <a:cubicBezTo>
                  <a:pt x="2077343" y="497071"/>
                  <a:pt x="2064159" y="499448"/>
                  <a:pt x="2052387" y="505154"/>
                </a:cubicBezTo>
                <a:cubicBezTo>
                  <a:pt x="2041086" y="510385"/>
                  <a:pt x="2032140" y="517993"/>
                  <a:pt x="2026018" y="527503"/>
                </a:cubicBezTo>
                <a:cubicBezTo>
                  <a:pt x="2019426" y="537013"/>
                  <a:pt x="2016130" y="548425"/>
                  <a:pt x="2016130" y="561264"/>
                </a:cubicBezTo>
                <a:cubicBezTo>
                  <a:pt x="2016130" y="579333"/>
                  <a:pt x="2022252" y="593598"/>
                  <a:pt x="2034023" y="604534"/>
                </a:cubicBezTo>
                <a:cubicBezTo>
                  <a:pt x="2045795" y="615471"/>
                  <a:pt x="2061805" y="620701"/>
                  <a:pt x="2081110" y="620701"/>
                </a:cubicBezTo>
                <a:cubicBezTo>
                  <a:pt x="2095237" y="620701"/>
                  <a:pt x="2107952" y="617848"/>
                  <a:pt x="2119252" y="611667"/>
                </a:cubicBezTo>
                <a:cubicBezTo>
                  <a:pt x="2130554" y="605485"/>
                  <a:pt x="2138558" y="597402"/>
                  <a:pt x="2143738" y="587416"/>
                </a:cubicBezTo>
                <a:cubicBezTo>
                  <a:pt x="2144679" y="614995"/>
                  <a:pt x="2144679" y="614995"/>
                  <a:pt x="2144679" y="614995"/>
                </a:cubicBezTo>
                <a:cubicBezTo>
                  <a:pt x="2182820" y="614995"/>
                  <a:pt x="2182820" y="614995"/>
                  <a:pt x="2182820" y="614995"/>
                </a:cubicBezTo>
                <a:cubicBezTo>
                  <a:pt x="2182820" y="502777"/>
                  <a:pt x="2182820" y="502777"/>
                  <a:pt x="2182820" y="502777"/>
                </a:cubicBezTo>
                <a:cubicBezTo>
                  <a:pt x="2182820" y="475673"/>
                  <a:pt x="2175285" y="455227"/>
                  <a:pt x="2160218" y="440486"/>
                </a:cubicBezTo>
                <a:cubicBezTo>
                  <a:pt x="2145151" y="426221"/>
                  <a:pt x="2123490" y="419088"/>
                  <a:pt x="2095707" y="419088"/>
                </a:cubicBezTo>
                <a:close/>
                <a:moveTo>
                  <a:pt x="4340657" y="417502"/>
                </a:moveTo>
                <a:cubicBezTo>
                  <a:pt x="4327907" y="417502"/>
                  <a:pt x="4316102" y="419419"/>
                  <a:pt x="4304770" y="422774"/>
                </a:cubicBezTo>
                <a:cubicBezTo>
                  <a:pt x="4293438" y="426608"/>
                  <a:pt x="4283519" y="430921"/>
                  <a:pt x="4274547" y="435713"/>
                </a:cubicBezTo>
                <a:cubicBezTo>
                  <a:pt x="4274547" y="475491"/>
                  <a:pt x="4274547" y="475491"/>
                  <a:pt x="4274547" y="475491"/>
                </a:cubicBezTo>
                <a:cubicBezTo>
                  <a:pt x="4283519" y="468781"/>
                  <a:pt x="4293911" y="463989"/>
                  <a:pt x="4304770" y="460634"/>
                </a:cubicBezTo>
                <a:cubicBezTo>
                  <a:pt x="4315157" y="457279"/>
                  <a:pt x="4326018" y="455841"/>
                  <a:pt x="4335936" y="455841"/>
                </a:cubicBezTo>
                <a:cubicBezTo>
                  <a:pt x="4353405" y="455841"/>
                  <a:pt x="4366628" y="459675"/>
                  <a:pt x="4374655" y="468302"/>
                </a:cubicBezTo>
                <a:cubicBezTo>
                  <a:pt x="4383156" y="476928"/>
                  <a:pt x="4387405" y="488909"/>
                  <a:pt x="4387405" y="505204"/>
                </a:cubicBezTo>
                <a:cubicBezTo>
                  <a:pt x="4387405" y="505683"/>
                  <a:pt x="4387405" y="505683"/>
                  <a:pt x="4387405" y="505683"/>
                </a:cubicBezTo>
                <a:cubicBezTo>
                  <a:pt x="4372295" y="499453"/>
                  <a:pt x="4355768" y="496098"/>
                  <a:pt x="4337823" y="496098"/>
                </a:cubicBezTo>
                <a:cubicBezTo>
                  <a:pt x="4322240" y="496098"/>
                  <a:pt x="4309020" y="498974"/>
                  <a:pt x="4297213" y="504245"/>
                </a:cubicBezTo>
                <a:cubicBezTo>
                  <a:pt x="4285883" y="509517"/>
                  <a:pt x="4276909" y="517185"/>
                  <a:pt x="4270298" y="526770"/>
                </a:cubicBezTo>
                <a:cubicBezTo>
                  <a:pt x="4264158" y="536355"/>
                  <a:pt x="4260855" y="547857"/>
                  <a:pt x="4260855" y="560796"/>
                </a:cubicBezTo>
                <a:cubicBezTo>
                  <a:pt x="4260855" y="579007"/>
                  <a:pt x="4266994" y="593385"/>
                  <a:pt x="4278798" y="604407"/>
                </a:cubicBezTo>
                <a:cubicBezTo>
                  <a:pt x="4290603" y="615430"/>
                  <a:pt x="4306187" y="620702"/>
                  <a:pt x="4326018" y="620702"/>
                </a:cubicBezTo>
                <a:cubicBezTo>
                  <a:pt x="4340184" y="620702"/>
                  <a:pt x="4352463" y="617826"/>
                  <a:pt x="4363794" y="611596"/>
                </a:cubicBezTo>
                <a:cubicBezTo>
                  <a:pt x="4375128" y="605845"/>
                  <a:pt x="4383627" y="597698"/>
                  <a:pt x="4388824" y="587155"/>
                </a:cubicBezTo>
                <a:cubicBezTo>
                  <a:pt x="4389293" y="614951"/>
                  <a:pt x="4389293" y="614951"/>
                  <a:pt x="4389293" y="614951"/>
                </a:cubicBezTo>
                <a:cubicBezTo>
                  <a:pt x="4427543" y="614951"/>
                  <a:pt x="4427543" y="614951"/>
                  <a:pt x="4427543" y="614951"/>
                </a:cubicBezTo>
                <a:cubicBezTo>
                  <a:pt x="4427543" y="502328"/>
                  <a:pt x="4427543" y="502328"/>
                  <a:pt x="4427543" y="502328"/>
                </a:cubicBezTo>
                <a:cubicBezTo>
                  <a:pt x="4427543" y="475011"/>
                  <a:pt x="4419988" y="453924"/>
                  <a:pt x="4405349" y="439547"/>
                </a:cubicBezTo>
                <a:cubicBezTo>
                  <a:pt x="4390238" y="424691"/>
                  <a:pt x="4368517" y="417502"/>
                  <a:pt x="4340657" y="417502"/>
                </a:cubicBezTo>
                <a:close/>
                <a:moveTo>
                  <a:pt x="4696607" y="417500"/>
                </a:moveTo>
                <a:cubicBezTo>
                  <a:pt x="4674370" y="417500"/>
                  <a:pt x="4656866" y="422772"/>
                  <a:pt x="4643620" y="433315"/>
                </a:cubicBezTo>
                <a:cubicBezTo>
                  <a:pt x="4630846" y="443379"/>
                  <a:pt x="4624223" y="457757"/>
                  <a:pt x="4624223" y="475489"/>
                </a:cubicBezTo>
                <a:cubicBezTo>
                  <a:pt x="4624223" y="491304"/>
                  <a:pt x="4628954" y="503285"/>
                  <a:pt x="4637942" y="512391"/>
                </a:cubicBezTo>
                <a:cubicBezTo>
                  <a:pt x="4646458" y="521496"/>
                  <a:pt x="4661596" y="529644"/>
                  <a:pt x="4682886" y="536353"/>
                </a:cubicBezTo>
                <a:cubicBezTo>
                  <a:pt x="4698499" y="541145"/>
                  <a:pt x="4708907" y="545459"/>
                  <a:pt x="4714112" y="549293"/>
                </a:cubicBezTo>
                <a:cubicBezTo>
                  <a:pt x="4719315" y="553127"/>
                  <a:pt x="4722154" y="557919"/>
                  <a:pt x="4722154" y="563670"/>
                </a:cubicBezTo>
                <a:cubicBezTo>
                  <a:pt x="4722154" y="570859"/>
                  <a:pt x="4719315" y="575651"/>
                  <a:pt x="4713164" y="579006"/>
                </a:cubicBezTo>
                <a:cubicBezTo>
                  <a:pt x="4707488" y="582361"/>
                  <a:pt x="4698027" y="583798"/>
                  <a:pt x="4685252" y="583798"/>
                </a:cubicBezTo>
                <a:cubicBezTo>
                  <a:pt x="4663017" y="583798"/>
                  <a:pt x="4642201" y="576610"/>
                  <a:pt x="4622803" y="562712"/>
                </a:cubicBezTo>
                <a:cubicBezTo>
                  <a:pt x="4622803" y="562712"/>
                  <a:pt x="4622803" y="562712"/>
                  <a:pt x="4622803" y="602010"/>
                </a:cubicBezTo>
                <a:cubicBezTo>
                  <a:pt x="4628480" y="605364"/>
                  <a:pt x="4634631" y="608719"/>
                  <a:pt x="4642201" y="611595"/>
                </a:cubicBezTo>
                <a:cubicBezTo>
                  <a:pt x="4649297" y="614470"/>
                  <a:pt x="4656866" y="616866"/>
                  <a:pt x="4664910" y="618304"/>
                </a:cubicBezTo>
                <a:cubicBezTo>
                  <a:pt x="4672953" y="620221"/>
                  <a:pt x="4680049" y="620700"/>
                  <a:pt x="4687143" y="620700"/>
                </a:cubicBezTo>
                <a:cubicBezTo>
                  <a:pt x="4710801" y="620700"/>
                  <a:pt x="4729722" y="615428"/>
                  <a:pt x="4744390" y="605364"/>
                </a:cubicBezTo>
                <a:cubicBezTo>
                  <a:pt x="4758583" y="594821"/>
                  <a:pt x="4765678" y="580444"/>
                  <a:pt x="4765678" y="562712"/>
                </a:cubicBezTo>
                <a:cubicBezTo>
                  <a:pt x="4765678" y="552168"/>
                  <a:pt x="4763787" y="543062"/>
                  <a:pt x="4759529" y="535395"/>
                </a:cubicBezTo>
                <a:cubicBezTo>
                  <a:pt x="4755744" y="527727"/>
                  <a:pt x="4748647" y="521017"/>
                  <a:pt x="4739658" y="515266"/>
                </a:cubicBezTo>
                <a:cubicBezTo>
                  <a:pt x="4730196" y="509515"/>
                  <a:pt x="4717424" y="503764"/>
                  <a:pt x="4701338" y="498493"/>
                </a:cubicBezTo>
                <a:cubicBezTo>
                  <a:pt x="4691876" y="495617"/>
                  <a:pt x="4684779" y="492742"/>
                  <a:pt x="4679575" y="490345"/>
                </a:cubicBezTo>
                <a:cubicBezTo>
                  <a:pt x="4674844" y="487949"/>
                  <a:pt x="4671532" y="485074"/>
                  <a:pt x="4669642" y="482678"/>
                </a:cubicBezTo>
                <a:cubicBezTo>
                  <a:pt x="4667747" y="480281"/>
                  <a:pt x="4666800" y="476927"/>
                  <a:pt x="4666800" y="473093"/>
                </a:cubicBezTo>
                <a:cubicBezTo>
                  <a:pt x="4666800" y="460632"/>
                  <a:pt x="4676737" y="454402"/>
                  <a:pt x="4697553" y="454402"/>
                </a:cubicBezTo>
                <a:cubicBezTo>
                  <a:pt x="4706541" y="454402"/>
                  <a:pt x="4716477" y="456319"/>
                  <a:pt x="4727358" y="459674"/>
                </a:cubicBezTo>
                <a:cubicBezTo>
                  <a:pt x="4738241" y="463029"/>
                  <a:pt x="4747228" y="467342"/>
                  <a:pt x="4754325" y="472613"/>
                </a:cubicBezTo>
                <a:cubicBezTo>
                  <a:pt x="4754325" y="472613"/>
                  <a:pt x="4754325" y="472613"/>
                  <a:pt x="4754325" y="433315"/>
                </a:cubicBezTo>
                <a:cubicBezTo>
                  <a:pt x="4746282" y="429002"/>
                  <a:pt x="4736346" y="425168"/>
                  <a:pt x="4725465" y="421813"/>
                </a:cubicBezTo>
                <a:cubicBezTo>
                  <a:pt x="4714584" y="418938"/>
                  <a:pt x="4705122" y="417500"/>
                  <a:pt x="4696607" y="417500"/>
                </a:cubicBezTo>
                <a:close/>
                <a:moveTo>
                  <a:pt x="3728959" y="400036"/>
                </a:moveTo>
                <a:cubicBezTo>
                  <a:pt x="3737032" y="400036"/>
                  <a:pt x="3743206" y="402868"/>
                  <a:pt x="3748430" y="407587"/>
                </a:cubicBezTo>
                <a:cubicBezTo>
                  <a:pt x="3753654" y="412307"/>
                  <a:pt x="3756028" y="418914"/>
                  <a:pt x="3756028" y="426938"/>
                </a:cubicBezTo>
                <a:cubicBezTo>
                  <a:pt x="3756028" y="434961"/>
                  <a:pt x="3753654" y="442512"/>
                  <a:pt x="3747955" y="449592"/>
                </a:cubicBezTo>
                <a:cubicBezTo>
                  <a:pt x="3743206" y="456199"/>
                  <a:pt x="3734658" y="462807"/>
                  <a:pt x="3722785" y="469886"/>
                </a:cubicBezTo>
                <a:cubicBezTo>
                  <a:pt x="3714237" y="459503"/>
                  <a:pt x="3708539" y="451480"/>
                  <a:pt x="3705214" y="445344"/>
                </a:cubicBezTo>
                <a:cubicBezTo>
                  <a:pt x="3701890" y="439681"/>
                  <a:pt x="3700465" y="433073"/>
                  <a:pt x="3700465" y="426466"/>
                </a:cubicBezTo>
                <a:cubicBezTo>
                  <a:pt x="3700465" y="418914"/>
                  <a:pt x="3703315" y="412307"/>
                  <a:pt x="3708539" y="407587"/>
                </a:cubicBezTo>
                <a:cubicBezTo>
                  <a:pt x="3713763" y="402868"/>
                  <a:pt x="3720411" y="400036"/>
                  <a:pt x="3728959" y="400036"/>
                </a:cubicBezTo>
                <a:close/>
                <a:moveTo>
                  <a:pt x="3070939" y="376226"/>
                </a:moveTo>
                <a:cubicBezTo>
                  <a:pt x="3070939" y="376226"/>
                  <a:pt x="3070939" y="376226"/>
                  <a:pt x="3070939" y="427317"/>
                </a:cubicBezTo>
                <a:cubicBezTo>
                  <a:pt x="3070939" y="427317"/>
                  <a:pt x="3070939" y="427317"/>
                  <a:pt x="3032129" y="427317"/>
                </a:cubicBezTo>
                <a:cubicBezTo>
                  <a:pt x="3032129" y="427317"/>
                  <a:pt x="3032129" y="427317"/>
                  <a:pt x="3032129" y="464561"/>
                </a:cubicBezTo>
                <a:cubicBezTo>
                  <a:pt x="3032129" y="464561"/>
                  <a:pt x="3032129" y="464561"/>
                  <a:pt x="3070939" y="464561"/>
                </a:cubicBezTo>
                <a:cubicBezTo>
                  <a:pt x="3070939" y="464561"/>
                  <a:pt x="3070939" y="464561"/>
                  <a:pt x="3070939" y="544780"/>
                </a:cubicBezTo>
                <a:cubicBezTo>
                  <a:pt x="3070939" y="569609"/>
                  <a:pt x="3076146" y="588231"/>
                  <a:pt x="3087031" y="601124"/>
                </a:cubicBezTo>
                <a:cubicBezTo>
                  <a:pt x="3097918" y="614493"/>
                  <a:pt x="3114483" y="620701"/>
                  <a:pt x="3136728" y="620701"/>
                </a:cubicBezTo>
                <a:cubicBezTo>
                  <a:pt x="3145248" y="620701"/>
                  <a:pt x="3153294" y="619746"/>
                  <a:pt x="3161339" y="617836"/>
                </a:cubicBezTo>
                <a:cubicBezTo>
                  <a:pt x="3169385" y="615926"/>
                  <a:pt x="3177431" y="613061"/>
                  <a:pt x="3184531" y="609718"/>
                </a:cubicBezTo>
                <a:cubicBezTo>
                  <a:pt x="3184531" y="609718"/>
                  <a:pt x="3184531" y="609718"/>
                  <a:pt x="3184531" y="569132"/>
                </a:cubicBezTo>
                <a:cubicBezTo>
                  <a:pt x="3179323" y="572474"/>
                  <a:pt x="3173172" y="574862"/>
                  <a:pt x="3165599" y="577249"/>
                </a:cubicBezTo>
                <a:cubicBezTo>
                  <a:pt x="3158500" y="579637"/>
                  <a:pt x="3151400" y="580592"/>
                  <a:pt x="3144774" y="580592"/>
                </a:cubicBezTo>
                <a:cubicBezTo>
                  <a:pt x="3134362" y="580592"/>
                  <a:pt x="3126788" y="577727"/>
                  <a:pt x="3122529" y="571519"/>
                </a:cubicBezTo>
                <a:cubicBezTo>
                  <a:pt x="3117796" y="564834"/>
                  <a:pt x="3115430" y="554807"/>
                  <a:pt x="3115430" y="540960"/>
                </a:cubicBezTo>
                <a:cubicBezTo>
                  <a:pt x="3115430" y="540960"/>
                  <a:pt x="3115430" y="540960"/>
                  <a:pt x="3115430" y="464561"/>
                </a:cubicBezTo>
                <a:cubicBezTo>
                  <a:pt x="3115430" y="464561"/>
                  <a:pt x="3115430" y="464561"/>
                  <a:pt x="3176957" y="464561"/>
                </a:cubicBezTo>
                <a:cubicBezTo>
                  <a:pt x="3176957" y="464561"/>
                  <a:pt x="3176957" y="464561"/>
                  <a:pt x="3176957" y="427317"/>
                </a:cubicBezTo>
                <a:cubicBezTo>
                  <a:pt x="3176957" y="427317"/>
                  <a:pt x="3176957" y="427317"/>
                  <a:pt x="3115430" y="427317"/>
                </a:cubicBezTo>
                <a:cubicBezTo>
                  <a:pt x="3115430" y="427317"/>
                  <a:pt x="3115430" y="427317"/>
                  <a:pt x="3115430" y="376226"/>
                </a:cubicBezTo>
                <a:cubicBezTo>
                  <a:pt x="3115430" y="376226"/>
                  <a:pt x="3115430" y="376226"/>
                  <a:pt x="3070939" y="376226"/>
                </a:cubicBezTo>
                <a:close/>
                <a:moveTo>
                  <a:pt x="3728339" y="366702"/>
                </a:moveTo>
                <a:cubicBezTo>
                  <a:pt x="3715127" y="366702"/>
                  <a:pt x="3702859" y="369093"/>
                  <a:pt x="3692478" y="374354"/>
                </a:cubicBezTo>
                <a:cubicBezTo>
                  <a:pt x="3682569" y="379137"/>
                  <a:pt x="3674074" y="386311"/>
                  <a:pt x="3668412" y="394920"/>
                </a:cubicBezTo>
                <a:cubicBezTo>
                  <a:pt x="3662750" y="404007"/>
                  <a:pt x="3659919" y="414050"/>
                  <a:pt x="3659919" y="426007"/>
                </a:cubicBezTo>
                <a:cubicBezTo>
                  <a:pt x="3659919" y="433181"/>
                  <a:pt x="3660863" y="439398"/>
                  <a:pt x="3662278" y="445616"/>
                </a:cubicBezTo>
                <a:cubicBezTo>
                  <a:pt x="3664165" y="451833"/>
                  <a:pt x="3666997" y="458529"/>
                  <a:pt x="3671244" y="465225"/>
                </a:cubicBezTo>
                <a:cubicBezTo>
                  <a:pt x="3675489" y="471442"/>
                  <a:pt x="3681153" y="479573"/>
                  <a:pt x="3688231" y="488181"/>
                </a:cubicBezTo>
                <a:cubicBezTo>
                  <a:pt x="3670299" y="497269"/>
                  <a:pt x="3657087" y="507790"/>
                  <a:pt x="3648121" y="519269"/>
                </a:cubicBezTo>
                <a:cubicBezTo>
                  <a:pt x="3639629" y="530747"/>
                  <a:pt x="3635382" y="544139"/>
                  <a:pt x="3635382" y="558965"/>
                </a:cubicBezTo>
                <a:cubicBezTo>
                  <a:pt x="3635382" y="573313"/>
                  <a:pt x="3639157" y="585748"/>
                  <a:pt x="3646234" y="596748"/>
                </a:cubicBezTo>
                <a:cubicBezTo>
                  <a:pt x="3653312" y="607270"/>
                  <a:pt x="3663693" y="615400"/>
                  <a:pt x="3676435" y="621618"/>
                </a:cubicBezTo>
                <a:cubicBezTo>
                  <a:pt x="3689646" y="627357"/>
                  <a:pt x="3704746" y="630227"/>
                  <a:pt x="3721733" y="630227"/>
                </a:cubicBezTo>
                <a:cubicBezTo>
                  <a:pt x="3734945" y="630227"/>
                  <a:pt x="3747686" y="628314"/>
                  <a:pt x="3759482" y="624488"/>
                </a:cubicBezTo>
                <a:cubicBezTo>
                  <a:pt x="3771279" y="620661"/>
                  <a:pt x="3782131" y="614922"/>
                  <a:pt x="3792041" y="608227"/>
                </a:cubicBezTo>
                <a:cubicBezTo>
                  <a:pt x="3805726" y="624488"/>
                  <a:pt x="3805726" y="624488"/>
                  <a:pt x="3805726" y="624488"/>
                </a:cubicBezTo>
                <a:cubicBezTo>
                  <a:pt x="3857630" y="624488"/>
                  <a:pt x="3857630" y="624488"/>
                  <a:pt x="3857630" y="624488"/>
                </a:cubicBezTo>
                <a:lnTo>
                  <a:pt x="3819409" y="580487"/>
                </a:lnTo>
                <a:cubicBezTo>
                  <a:pt x="3826959" y="569487"/>
                  <a:pt x="3833094" y="557052"/>
                  <a:pt x="3837812" y="543182"/>
                </a:cubicBezTo>
                <a:cubicBezTo>
                  <a:pt x="3842532" y="529312"/>
                  <a:pt x="3844892" y="514008"/>
                  <a:pt x="3845835" y="497747"/>
                </a:cubicBezTo>
                <a:cubicBezTo>
                  <a:pt x="3809028" y="493921"/>
                  <a:pt x="3809028" y="493921"/>
                  <a:pt x="3809028" y="493921"/>
                </a:cubicBezTo>
                <a:cubicBezTo>
                  <a:pt x="3808556" y="505399"/>
                  <a:pt x="3807141" y="515443"/>
                  <a:pt x="3804782" y="525486"/>
                </a:cubicBezTo>
                <a:cubicBezTo>
                  <a:pt x="3801950" y="535052"/>
                  <a:pt x="3798647" y="543660"/>
                  <a:pt x="3793928" y="551313"/>
                </a:cubicBezTo>
                <a:cubicBezTo>
                  <a:pt x="3742967" y="492964"/>
                  <a:pt x="3742967" y="492964"/>
                  <a:pt x="3742967" y="492964"/>
                </a:cubicBezTo>
                <a:cubicBezTo>
                  <a:pt x="3778356" y="475268"/>
                  <a:pt x="3795816" y="452311"/>
                  <a:pt x="3795816" y="424572"/>
                </a:cubicBezTo>
                <a:cubicBezTo>
                  <a:pt x="3795816" y="413094"/>
                  <a:pt x="3792984" y="403050"/>
                  <a:pt x="3787322" y="394441"/>
                </a:cubicBezTo>
                <a:cubicBezTo>
                  <a:pt x="3781188" y="385832"/>
                  <a:pt x="3773639" y="379137"/>
                  <a:pt x="3763258" y="374354"/>
                </a:cubicBezTo>
                <a:cubicBezTo>
                  <a:pt x="3753348" y="369093"/>
                  <a:pt x="3741552" y="366702"/>
                  <a:pt x="3728339" y="366702"/>
                </a:cubicBezTo>
                <a:close/>
                <a:moveTo>
                  <a:pt x="4803778" y="363525"/>
                </a:moveTo>
                <a:cubicBezTo>
                  <a:pt x="4803778" y="363525"/>
                  <a:pt x="4803778" y="363525"/>
                  <a:pt x="4803778" y="614350"/>
                </a:cubicBezTo>
                <a:lnTo>
                  <a:pt x="4847827" y="614350"/>
                </a:lnTo>
                <a:cubicBezTo>
                  <a:pt x="4847827" y="614350"/>
                  <a:pt x="4847827" y="614350"/>
                  <a:pt x="4847827" y="510873"/>
                </a:cubicBezTo>
                <a:cubicBezTo>
                  <a:pt x="4847827" y="494183"/>
                  <a:pt x="4852087" y="480831"/>
                  <a:pt x="4860140" y="471771"/>
                </a:cubicBezTo>
                <a:cubicBezTo>
                  <a:pt x="4867716" y="462234"/>
                  <a:pt x="4879085" y="457465"/>
                  <a:pt x="4892818" y="457465"/>
                </a:cubicBezTo>
                <a:cubicBezTo>
                  <a:pt x="4918395" y="457465"/>
                  <a:pt x="4930708" y="474155"/>
                  <a:pt x="4930708" y="507535"/>
                </a:cubicBezTo>
                <a:cubicBezTo>
                  <a:pt x="4930708" y="507535"/>
                  <a:pt x="4930708" y="507535"/>
                  <a:pt x="4930708" y="614350"/>
                </a:cubicBezTo>
                <a:cubicBezTo>
                  <a:pt x="4930708" y="614350"/>
                  <a:pt x="4930708" y="614350"/>
                  <a:pt x="4975227" y="614350"/>
                </a:cubicBezTo>
                <a:cubicBezTo>
                  <a:pt x="4975227" y="614350"/>
                  <a:pt x="4975227" y="614350"/>
                  <a:pt x="4975227" y="498952"/>
                </a:cubicBezTo>
                <a:cubicBezTo>
                  <a:pt x="4975227" y="472725"/>
                  <a:pt x="4969073" y="452697"/>
                  <a:pt x="4957703" y="438868"/>
                </a:cubicBezTo>
                <a:cubicBezTo>
                  <a:pt x="4945864" y="425039"/>
                  <a:pt x="4928813" y="417886"/>
                  <a:pt x="4907027" y="417886"/>
                </a:cubicBezTo>
                <a:cubicBezTo>
                  <a:pt x="4893767" y="417886"/>
                  <a:pt x="4881924" y="420748"/>
                  <a:pt x="4871505" y="426470"/>
                </a:cubicBezTo>
                <a:cubicBezTo>
                  <a:pt x="4861090" y="432669"/>
                  <a:pt x="4853509" y="440775"/>
                  <a:pt x="4847827" y="451266"/>
                </a:cubicBezTo>
                <a:cubicBezTo>
                  <a:pt x="4847827" y="451266"/>
                  <a:pt x="4847827" y="451266"/>
                  <a:pt x="4847827" y="363525"/>
                </a:cubicBezTo>
                <a:cubicBezTo>
                  <a:pt x="4847827" y="363525"/>
                  <a:pt x="4847827" y="363525"/>
                  <a:pt x="4803778" y="363525"/>
                </a:cubicBezTo>
                <a:close/>
                <a:moveTo>
                  <a:pt x="3954467" y="363525"/>
                </a:moveTo>
                <a:lnTo>
                  <a:pt x="3954467" y="614350"/>
                </a:lnTo>
                <a:lnTo>
                  <a:pt x="3998918" y="614350"/>
                </a:lnTo>
                <a:lnTo>
                  <a:pt x="3998918" y="433375"/>
                </a:lnTo>
                <a:lnTo>
                  <a:pt x="4087817" y="571488"/>
                </a:lnTo>
                <a:lnTo>
                  <a:pt x="4176717" y="433375"/>
                </a:lnTo>
                <a:lnTo>
                  <a:pt x="4176717" y="614350"/>
                </a:lnTo>
                <a:lnTo>
                  <a:pt x="4222754" y="614350"/>
                </a:lnTo>
                <a:lnTo>
                  <a:pt x="4222754" y="363525"/>
                </a:lnTo>
                <a:lnTo>
                  <a:pt x="4175131" y="363525"/>
                </a:lnTo>
                <a:lnTo>
                  <a:pt x="4087817" y="498463"/>
                </a:lnTo>
                <a:lnTo>
                  <a:pt x="4002092" y="363525"/>
                </a:lnTo>
                <a:close/>
                <a:moveTo>
                  <a:pt x="1903703" y="357176"/>
                </a:moveTo>
                <a:cubicBezTo>
                  <a:pt x="1883775" y="357176"/>
                  <a:pt x="1865745" y="360524"/>
                  <a:pt x="1849139" y="366741"/>
                </a:cubicBezTo>
                <a:cubicBezTo>
                  <a:pt x="1832533" y="372959"/>
                  <a:pt x="1818299" y="382046"/>
                  <a:pt x="1806437" y="394003"/>
                </a:cubicBezTo>
                <a:cubicBezTo>
                  <a:pt x="1794101" y="405481"/>
                  <a:pt x="1785086" y="419351"/>
                  <a:pt x="1778444" y="435612"/>
                </a:cubicBezTo>
                <a:cubicBezTo>
                  <a:pt x="1771801" y="451873"/>
                  <a:pt x="1768480" y="469569"/>
                  <a:pt x="1768480" y="489178"/>
                </a:cubicBezTo>
                <a:cubicBezTo>
                  <a:pt x="1768480" y="515482"/>
                  <a:pt x="1774173" y="538917"/>
                  <a:pt x="1785086" y="558526"/>
                </a:cubicBezTo>
                <a:cubicBezTo>
                  <a:pt x="1795999" y="578614"/>
                  <a:pt x="1811656" y="593918"/>
                  <a:pt x="1831584" y="604440"/>
                </a:cubicBezTo>
                <a:cubicBezTo>
                  <a:pt x="1851511" y="615440"/>
                  <a:pt x="1874760" y="620701"/>
                  <a:pt x="1900856" y="620701"/>
                </a:cubicBezTo>
                <a:cubicBezTo>
                  <a:pt x="1915564" y="620701"/>
                  <a:pt x="1929324" y="619266"/>
                  <a:pt x="1942609" y="615918"/>
                </a:cubicBezTo>
                <a:cubicBezTo>
                  <a:pt x="1955894" y="612570"/>
                  <a:pt x="1968231" y="608266"/>
                  <a:pt x="1979618" y="602527"/>
                </a:cubicBezTo>
                <a:cubicBezTo>
                  <a:pt x="1979618" y="602527"/>
                  <a:pt x="1979618" y="602527"/>
                  <a:pt x="1979618" y="559961"/>
                </a:cubicBezTo>
                <a:cubicBezTo>
                  <a:pt x="1968231" y="565222"/>
                  <a:pt x="1955420" y="570005"/>
                  <a:pt x="1942135" y="573353"/>
                </a:cubicBezTo>
                <a:cubicBezTo>
                  <a:pt x="1928850" y="576700"/>
                  <a:pt x="1916039" y="578614"/>
                  <a:pt x="1904652" y="578614"/>
                </a:cubicBezTo>
                <a:cubicBezTo>
                  <a:pt x="1886622" y="578614"/>
                  <a:pt x="1870965" y="574787"/>
                  <a:pt x="1857679" y="567613"/>
                </a:cubicBezTo>
                <a:cubicBezTo>
                  <a:pt x="1844394" y="560439"/>
                  <a:pt x="1834431" y="549917"/>
                  <a:pt x="1826839" y="536526"/>
                </a:cubicBezTo>
                <a:cubicBezTo>
                  <a:pt x="1819722" y="523134"/>
                  <a:pt x="1815926" y="507352"/>
                  <a:pt x="1815926" y="488699"/>
                </a:cubicBezTo>
                <a:cubicBezTo>
                  <a:pt x="1815926" y="470525"/>
                  <a:pt x="1819722" y="455221"/>
                  <a:pt x="1827314" y="441829"/>
                </a:cubicBezTo>
                <a:cubicBezTo>
                  <a:pt x="1834431" y="428438"/>
                  <a:pt x="1844869" y="417916"/>
                  <a:pt x="1857679" y="410742"/>
                </a:cubicBezTo>
                <a:cubicBezTo>
                  <a:pt x="1870965" y="403090"/>
                  <a:pt x="1886147" y="399742"/>
                  <a:pt x="1903703" y="399742"/>
                </a:cubicBezTo>
                <a:cubicBezTo>
                  <a:pt x="1915090" y="399742"/>
                  <a:pt x="1927426" y="401177"/>
                  <a:pt x="1940237" y="404524"/>
                </a:cubicBezTo>
                <a:cubicBezTo>
                  <a:pt x="1953048" y="407872"/>
                  <a:pt x="1966332" y="413133"/>
                  <a:pt x="1979618" y="420307"/>
                </a:cubicBezTo>
                <a:cubicBezTo>
                  <a:pt x="1979618" y="420307"/>
                  <a:pt x="1979618" y="420307"/>
                  <a:pt x="1979618" y="375828"/>
                </a:cubicBezTo>
                <a:cubicBezTo>
                  <a:pt x="1969179" y="370089"/>
                  <a:pt x="1957792" y="365785"/>
                  <a:pt x="1944507" y="362437"/>
                </a:cubicBezTo>
                <a:cubicBezTo>
                  <a:pt x="1930748" y="359089"/>
                  <a:pt x="1917462" y="357176"/>
                  <a:pt x="1903703" y="357176"/>
                </a:cubicBezTo>
                <a:close/>
                <a:moveTo>
                  <a:pt x="1203606" y="357176"/>
                </a:moveTo>
                <a:cubicBezTo>
                  <a:pt x="1176212" y="357176"/>
                  <a:pt x="1152124" y="362915"/>
                  <a:pt x="1131342" y="373916"/>
                </a:cubicBezTo>
                <a:cubicBezTo>
                  <a:pt x="1110560" y="384916"/>
                  <a:pt x="1094029" y="400699"/>
                  <a:pt x="1082694" y="420307"/>
                </a:cubicBezTo>
                <a:cubicBezTo>
                  <a:pt x="1070886" y="440395"/>
                  <a:pt x="1065218" y="463351"/>
                  <a:pt x="1065218" y="489656"/>
                </a:cubicBezTo>
                <a:cubicBezTo>
                  <a:pt x="1065218" y="516439"/>
                  <a:pt x="1070414" y="539396"/>
                  <a:pt x="1081749" y="559005"/>
                </a:cubicBezTo>
                <a:cubicBezTo>
                  <a:pt x="1093085" y="578614"/>
                  <a:pt x="1108671" y="593918"/>
                  <a:pt x="1128981" y="604918"/>
                </a:cubicBezTo>
                <a:cubicBezTo>
                  <a:pt x="1149290" y="615440"/>
                  <a:pt x="1172906" y="620701"/>
                  <a:pt x="1199828" y="620701"/>
                </a:cubicBezTo>
                <a:cubicBezTo>
                  <a:pt x="1233362" y="620701"/>
                  <a:pt x="1265007" y="614484"/>
                  <a:pt x="1293818" y="602049"/>
                </a:cubicBezTo>
                <a:cubicBezTo>
                  <a:pt x="1293818" y="602049"/>
                  <a:pt x="1293818" y="602049"/>
                  <a:pt x="1293818" y="476265"/>
                </a:cubicBezTo>
                <a:cubicBezTo>
                  <a:pt x="1293818" y="476265"/>
                  <a:pt x="1293818" y="476265"/>
                  <a:pt x="1200300" y="476265"/>
                </a:cubicBezTo>
                <a:cubicBezTo>
                  <a:pt x="1200300" y="476265"/>
                  <a:pt x="1200300" y="476265"/>
                  <a:pt x="1200300" y="516439"/>
                </a:cubicBezTo>
                <a:cubicBezTo>
                  <a:pt x="1200300" y="516439"/>
                  <a:pt x="1200300" y="516439"/>
                  <a:pt x="1251782" y="516439"/>
                </a:cubicBezTo>
                <a:cubicBezTo>
                  <a:pt x="1251782" y="516439"/>
                  <a:pt x="1251782" y="516439"/>
                  <a:pt x="1251782" y="571918"/>
                </a:cubicBezTo>
                <a:cubicBezTo>
                  <a:pt x="1235724" y="576222"/>
                  <a:pt x="1219193" y="578614"/>
                  <a:pt x="1202189" y="578614"/>
                </a:cubicBezTo>
                <a:cubicBezTo>
                  <a:pt x="1183297" y="578614"/>
                  <a:pt x="1167710" y="575266"/>
                  <a:pt x="1154013" y="568092"/>
                </a:cubicBezTo>
                <a:cubicBezTo>
                  <a:pt x="1140316" y="560918"/>
                  <a:pt x="1129925" y="550396"/>
                  <a:pt x="1122841" y="537005"/>
                </a:cubicBezTo>
                <a:cubicBezTo>
                  <a:pt x="1115283" y="523613"/>
                  <a:pt x="1111977" y="507352"/>
                  <a:pt x="1111977" y="489178"/>
                </a:cubicBezTo>
                <a:cubicBezTo>
                  <a:pt x="1111977" y="471004"/>
                  <a:pt x="1115756" y="455221"/>
                  <a:pt x="1122841" y="441830"/>
                </a:cubicBezTo>
                <a:cubicBezTo>
                  <a:pt x="1130398" y="428438"/>
                  <a:pt x="1141261" y="417916"/>
                  <a:pt x="1154486" y="410264"/>
                </a:cubicBezTo>
                <a:cubicBezTo>
                  <a:pt x="1168183" y="403090"/>
                  <a:pt x="1183769" y="399264"/>
                  <a:pt x="1201717" y="399264"/>
                </a:cubicBezTo>
                <a:cubicBezTo>
                  <a:pt x="1230056" y="399264"/>
                  <a:pt x="1256978" y="405481"/>
                  <a:pt x="1282955" y="417438"/>
                </a:cubicBezTo>
                <a:cubicBezTo>
                  <a:pt x="1282955" y="417438"/>
                  <a:pt x="1282955" y="417438"/>
                  <a:pt x="1282955" y="374394"/>
                </a:cubicBezTo>
                <a:cubicBezTo>
                  <a:pt x="1271147" y="369133"/>
                  <a:pt x="1258867" y="365307"/>
                  <a:pt x="1246114" y="361959"/>
                </a:cubicBezTo>
                <a:cubicBezTo>
                  <a:pt x="1233362" y="358611"/>
                  <a:pt x="1219193" y="357176"/>
                  <a:pt x="1203606" y="357176"/>
                </a:cubicBezTo>
                <a:close/>
                <a:moveTo>
                  <a:pt x="597705" y="350361"/>
                </a:moveTo>
                <a:cubicBezTo>
                  <a:pt x="498530" y="408149"/>
                  <a:pt x="498530" y="408149"/>
                  <a:pt x="498530" y="408149"/>
                </a:cubicBezTo>
                <a:cubicBezTo>
                  <a:pt x="491446" y="411969"/>
                  <a:pt x="485779" y="421998"/>
                  <a:pt x="485779" y="430117"/>
                </a:cubicBezTo>
                <a:cubicBezTo>
                  <a:pt x="485779" y="546171"/>
                  <a:pt x="485779" y="546171"/>
                  <a:pt x="485779" y="546171"/>
                </a:cubicBezTo>
                <a:cubicBezTo>
                  <a:pt x="485779" y="554289"/>
                  <a:pt x="491446" y="564319"/>
                  <a:pt x="498530" y="568140"/>
                </a:cubicBezTo>
                <a:cubicBezTo>
                  <a:pt x="597705" y="626405"/>
                  <a:pt x="597705" y="626405"/>
                  <a:pt x="597705" y="626405"/>
                </a:cubicBezTo>
                <a:cubicBezTo>
                  <a:pt x="604789" y="630225"/>
                  <a:pt x="616123" y="630225"/>
                  <a:pt x="623207" y="626405"/>
                </a:cubicBezTo>
                <a:cubicBezTo>
                  <a:pt x="897591" y="466414"/>
                  <a:pt x="897591" y="466414"/>
                  <a:pt x="897591" y="466414"/>
                </a:cubicBezTo>
                <a:cubicBezTo>
                  <a:pt x="745995" y="583900"/>
                  <a:pt x="745995" y="583900"/>
                  <a:pt x="745995" y="583900"/>
                </a:cubicBezTo>
                <a:cubicBezTo>
                  <a:pt x="818251" y="626405"/>
                  <a:pt x="818251" y="626405"/>
                  <a:pt x="818251" y="626405"/>
                </a:cubicBezTo>
                <a:cubicBezTo>
                  <a:pt x="825335" y="630225"/>
                  <a:pt x="836669" y="630225"/>
                  <a:pt x="843753" y="626405"/>
                </a:cubicBezTo>
                <a:cubicBezTo>
                  <a:pt x="942928" y="568140"/>
                  <a:pt x="942928" y="568140"/>
                  <a:pt x="942928" y="568140"/>
                </a:cubicBezTo>
                <a:cubicBezTo>
                  <a:pt x="950012" y="564319"/>
                  <a:pt x="955679" y="554289"/>
                  <a:pt x="955679" y="546171"/>
                </a:cubicBezTo>
                <a:cubicBezTo>
                  <a:pt x="955679" y="430117"/>
                  <a:pt x="955679" y="430117"/>
                  <a:pt x="955679" y="430117"/>
                </a:cubicBezTo>
                <a:cubicBezTo>
                  <a:pt x="955679" y="421998"/>
                  <a:pt x="950012" y="411969"/>
                  <a:pt x="942928" y="408149"/>
                </a:cubicBezTo>
                <a:cubicBezTo>
                  <a:pt x="843753" y="350361"/>
                  <a:pt x="843753" y="350361"/>
                  <a:pt x="843753" y="350361"/>
                </a:cubicBezTo>
                <a:cubicBezTo>
                  <a:pt x="836669" y="346063"/>
                  <a:pt x="825335" y="346063"/>
                  <a:pt x="818251" y="350361"/>
                </a:cubicBezTo>
                <a:cubicBezTo>
                  <a:pt x="543867" y="509874"/>
                  <a:pt x="543867" y="509874"/>
                  <a:pt x="543867" y="509874"/>
                </a:cubicBezTo>
                <a:cubicBezTo>
                  <a:pt x="695935" y="392388"/>
                  <a:pt x="695935" y="392388"/>
                  <a:pt x="695935" y="392388"/>
                </a:cubicBezTo>
                <a:cubicBezTo>
                  <a:pt x="623207" y="350361"/>
                  <a:pt x="623207" y="350361"/>
                  <a:pt x="623207" y="350361"/>
                </a:cubicBezTo>
                <a:cubicBezTo>
                  <a:pt x="616123" y="346063"/>
                  <a:pt x="604789" y="346063"/>
                  <a:pt x="597705" y="350361"/>
                </a:cubicBezTo>
                <a:close/>
                <a:moveTo>
                  <a:pt x="30" y="0"/>
                </a:moveTo>
                <a:lnTo>
                  <a:pt x="12192001" y="0"/>
                </a:lnTo>
                <a:lnTo>
                  <a:pt x="12192001" y="5222224"/>
                </a:lnTo>
                <a:lnTo>
                  <a:pt x="12192000" y="5222224"/>
                </a:lnTo>
                <a:lnTo>
                  <a:pt x="12192000" y="6281930"/>
                </a:lnTo>
                <a:lnTo>
                  <a:pt x="12191983" y="6281930"/>
                </a:lnTo>
                <a:lnTo>
                  <a:pt x="12191983" y="6409565"/>
                </a:lnTo>
                <a:lnTo>
                  <a:pt x="12191983" y="6419890"/>
                </a:lnTo>
                <a:lnTo>
                  <a:pt x="12191983" y="6857984"/>
                </a:lnTo>
                <a:lnTo>
                  <a:pt x="12192001" y="6857984"/>
                </a:lnTo>
                <a:lnTo>
                  <a:pt x="12192002" y="6857984"/>
                </a:lnTo>
                <a:lnTo>
                  <a:pt x="12192003" y="6857984"/>
                </a:lnTo>
                <a:lnTo>
                  <a:pt x="12192003" y="6857987"/>
                </a:lnTo>
                <a:lnTo>
                  <a:pt x="30" y="6857987"/>
                </a:lnTo>
                <a:lnTo>
                  <a:pt x="30" y="6857984"/>
                </a:lnTo>
                <a:lnTo>
                  <a:pt x="0" y="6857984"/>
                </a:lnTo>
                <a:lnTo>
                  <a:pt x="0" y="6465431"/>
                </a:lnTo>
                <a:lnTo>
                  <a:pt x="0" y="6409565"/>
                </a:lnTo>
                <a:lnTo>
                  <a:pt x="0" y="6281930"/>
                </a:lnTo>
                <a:lnTo>
                  <a:pt x="0" y="6274310"/>
                </a:lnTo>
                <a:lnTo>
                  <a:pt x="0" y="4975844"/>
                </a:lnTo>
                <a:lnTo>
                  <a:pt x="30" y="4975844"/>
                </a:lnTo>
                <a:close/>
              </a:path>
            </a:pathLst>
          </a:custGeom>
          <a:solidFill>
            <a:srgbClr val="F0F0F0"/>
          </a:solidFill>
        </p:spPr>
        <p:txBody>
          <a:bodyPr wrap="square">
            <a:noAutofit/>
          </a:bodyPr>
          <a:lstStyle>
            <a:lvl1pPr marL="0" marR="0" indent="0" algn="l" defTabSz="457200" rtl="0" eaLnBrk="1" fontAlgn="auto" latinLnBrk="0" hangingPunct="1">
              <a:lnSpc>
                <a:spcPct val="100000"/>
              </a:lnSpc>
              <a:spcBef>
                <a:spcPts val="0"/>
              </a:spcBef>
              <a:spcAft>
                <a:spcPts val="0"/>
              </a:spcAft>
              <a:buClrTx/>
              <a:buSzTx/>
              <a:buFont typeface="Arial"/>
              <a:buNone/>
              <a:tabLst/>
              <a:defRPr sz="1200">
                <a:solidFill>
                  <a:srgbClr val="FF0000"/>
                </a:solidFill>
              </a:defRPr>
            </a:lvl1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dirty="0" smtClean="0"/>
              <a:t>Bring picture placeholder to front. Click on picture icon to insert picture. Reset layout and send picture to back.</a:t>
            </a:r>
          </a:p>
          <a:p>
            <a:pPr marL="0" marR="0" lvl="0" indent="0" algn="l" defTabSz="457200" rtl="0" eaLnBrk="1" fontAlgn="auto" latinLnBrk="0" hangingPunct="1">
              <a:lnSpc>
                <a:spcPct val="100000"/>
              </a:lnSpc>
              <a:spcBef>
                <a:spcPts val="0"/>
              </a:spcBef>
              <a:spcAft>
                <a:spcPts val="0"/>
              </a:spcAft>
              <a:buClrTx/>
              <a:buSzTx/>
              <a:buFont typeface="Arial"/>
              <a:buNone/>
              <a:tabLst/>
              <a:defRPr/>
            </a:pPr>
            <a:endParaRPr lang="en-US" dirty="0"/>
          </a:p>
        </p:txBody>
      </p:sp>
      <p:graphicFrame>
        <p:nvGraphicFramePr>
          <p:cNvPr id="7" name="Object 6" hidden="1">
            <a:extLst>
              <a:ext uri="{FF2B5EF4-FFF2-40B4-BE49-F238E27FC236}">
                <a16:creationId xmlns:a16="http://schemas.microsoft.com/office/drawing/2014/main" id="{F8E1ADAF-78DD-5D4E-8C31-F993DBAD59C1}"/>
              </a:ext>
            </a:extLst>
          </p:cNvPr>
          <p:cNvGraphicFramePr>
            <a:graphicFrameLocks noChangeAspect="1"/>
          </p:cNvGraphicFramePr>
          <p:nvPr>
            <p:custDataLst>
              <p:tags r:id="rId2"/>
            </p:custDataLst>
            <p:extLst>
              <p:ext uri="{D42A27DB-BD31-4B8C-83A1-F6EECF244321}">
                <p14:modId xmlns:p14="http://schemas.microsoft.com/office/powerpoint/2010/main" val="330796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66840"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F8E1ADAF-78DD-5D4E-8C31-F993DBAD59C1}"/>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4" name="Title 1"/>
          <p:cNvSpPr>
            <a:spLocks noGrp="1"/>
          </p:cNvSpPr>
          <p:nvPr>
            <p:ph type="ctrTitle" hasCustomPrompt="1"/>
          </p:nvPr>
        </p:nvSpPr>
        <p:spPr>
          <a:xfrm>
            <a:off x="448437" y="1764792"/>
            <a:ext cx="9365488" cy="1600200"/>
          </a:xfrm>
        </p:spPr>
        <p:txBody>
          <a:bodyPr vert="horz"/>
          <a:lstStyle>
            <a:lvl1pPr>
              <a:lnSpc>
                <a:spcPct val="90000"/>
              </a:lnSpc>
              <a:defRPr lang="en-US" sz="6000" b="1" i="0" kern="1200" cap="all" baseline="0" dirty="0">
                <a:solidFill>
                  <a:schemeClr val="tx2"/>
                </a:solidFill>
                <a:latin typeface="Arial Narrow" panose="020B0604020202020204" pitchFamily="34" charset="0"/>
                <a:ea typeface="+mj-ea"/>
                <a:cs typeface="Arial Narrow" panose="020B0604020202020204" pitchFamily="34" charset="0"/>
              </a:defRPr>
            </a:lvl1pPr>
          </a:lstStyle>
          <a:p>
            <a:r>
              <a:rPr lang="en-US" dirty="0" smtClean="0"/>
              <a:t>MAIN TITLE placeholder  - USE light PHOTO</a:t>
            </a:r>
            <a:endParaRPr lang="en-US" dirty="0"/>
          </a:p>
        </p:txBody>
      </p:sp>
      <p:sp>
        <p:nvSpPr>
          <p:cNvPr id="15" name="Subtitle 2"/>
          <p:cNvSpPr>
            <a:spLocks noGrp="1"/>
          </p:cNvSpPr>
          <p:nvPr>
            <p:ph type="subTitle" idx="1" hasCustomPrompt="1"/>
          </p:nvPr>
        </p:nvSpPr>
        <p:spPr>
          <a:xfrm>
            <a:off x="462026" y="3560887"/>
            <a:ext cx="9310624" cy="807913"/>
          </a:xfrm>
        </p:spPr>
        <p:txBody>
          <a:bodyPr anchor="t"/>
          <a:lstStyle>
            <a:lvl1pPr marL="0" indent="0" algn="l">
              <a:buNone/>
              <a:defRPr sz="24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 goes here</a:t>
            </a:r>
          </a:p>
        </p:txBody>
      </p:sp>
      <p:sp>
        <p:nvSpPr>
          <p:cNvPr id="16" name="Text Placeholder 3">
            <a:extLst>
              <a:ext uri="{FF2B5EF4-FFF2-40B4-BE49-F238E27FC236}">
                <a16:creationId xmlns:a16="http://schemas.microsoft.com/office/drawing/2014/main" id="{408D7265-22AD-444D-9DAE-694197297FA6}"/>
              </a:ext>
            </a:extLst>
          </p:cNvPr>
          <p:cNvSpPr>
            <a:spLocks noGrp="1"/>
          </p:cNvSpPr>
          <p:nvPr>
            <p:ph type="body" sz="half" idx="2" hasCustomPrompt="1"/>
          </p:nvPr>
        </p:nvSpPr>
        <p:spPr>
          <a:xfrm>
            <a:off x="485775" y="4870889"/>
            <a:ext cx="7400925" cy="1038525"/>
          </a:xfrm>
        </p:spPr>
        <p:txBody>
          <a:bodyPr anchor="b" anchorCtr="0"/>
          <a:lstStyle>
            <a:lvl1pPr marL="0" marR="0" indent="0" algn="l" defTabSz="457200" rtl="0" eaLnBrk="1" fontAlgn="auto" latinLnBrk="0" hangingPunct="1">
              <a:lnSpc>
                <a:spcPct val="100000"/>
              </a:lnSpc>
              <a:spcBef>
                <a:spcPts val="0"/>
              </a:spcBef>
              <a:spcAft>
                <a:spcPts val="0"/>
              </a:spcAft>
              <a:buClrTx/>
              <a:buSzTx/>
              <a:buFont typeface="Arial"/>
              <a:buNone/>
              <a:tabLst/>
              <a:defRPr lang="en-US" sz="1400">
                <a:solidFill>
                  <a:srgbClr val="202020"/>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dirty="0">
                <a:effectLst/>
                <a:latin typeface="Arial" panose="020B0604020202020204" pitchFamily="34" charset="0"/>
              </a:rPr>
              <a:t>Client name (optional)</a:t>
            </a:r>
            <a:br>
              <a:rPr lang="en-US" dirty="0">
                <a:effectLst/>
                <a:latin typeface="Arial" panose="020B0604020202020204" pitchFamily="34" charset="0"/>
              </a:rPr>
            </a:br>
            <a:r>
              <a:rPr lang="en-US" dirty="0">
                <a:effectLst/>
                <a:latin typeface="Arial" panose="020B0604020202020204" pitchFamily="34" charset="0"/>
              </a:rPr>
              <a:t>Month 00, 20XX</a:t>
            </a:r>
            <a:br>
              <a:rPr lang="en-US" dirty="0">
                <a:effectLst/>
                <a:latin typeface="Arial" panose="020B0604020202020204" pitchFamily="34" charset="0"/>
              </a:rPr>
            </a:br>
            <a:r>
              <a:rPr lang="en-US" dirty="0">
                <a:effectLst/>
                <a:latin typeface="Arial" panose="020B0604020202020204" pitchFamily="34" charset="0"/>
              </a:rPr>
              <a:t>Presenter1, Job Title, location  |  Presenter2, Job Title, location</a:t>
            </a:r>
            <a:br>
              <a:rPr lang="en-US" dirty="0">
                <a:effectLst/>
                <a:latin typeface="Arial" panose="020B0604020202020204" pitchFamily="34" charset="0"/>
              </a:rPr>
            </a:br>
            <a:r>
              <a:rPr lang="en-US" dirty="0">
                <a:effectLst/>
                <a:latin typeface="Arial" panose="020B0604020202020204" pitchFamily="34" charset="0"/>
              </a:rPr>
              <a:t/>
            </a:r>
            <a:br>
              <a:rPr lang="en-US" dirty="0">
                <a:effectLst/>
                <a:latin typeface="Arial" panose="020B0604020202020204" pitchFamily="34" charset="0"/>
              </a:rPr>
            </a:br>
            <a:r>
              <a:rPr lang="en-US" dirty="0">
                <a:effectLst/>
                <a:latin typeface="Arial" panose="020B0604020202020204" pitchFamily="34" charset="0"/>
              </a:rPr>
              <a:t>Tagline (optional)</a:t>
            </a:r>
          </a:p>
        </p:txBody>
      </p:sp>
      <p:sp>
        <p:nvSpPr>
          <p:cNvPr id="17" name="Picture Placeholder 5">
            <a:extLst>
              <a:ext uri="{FF2B5EF4-FFF2-40B4-BE49-F238E27FC236}">
                <a16:creationId xmlns:a16="http://schemas.microsoft.com/office/drawing/2014/main" id="{2929EB37-3AE6-8A4E-BF4E-DB8B5DE61D2A}"/>
              </a:ext>
            </a:extLst>
          </p:cNvPr>
          <p:cNvSpPr>
            <a:spLocks noGrp="1" noChangeAspect="1"/>
          </p:cNvSpPr>
          <p:nvPr>
            <p:ph type="pic" sz="quarter" idx="11" hasCustomPrompt="1"/>
          </p:nvPr>
        </p:nvSpPr>
        <p:spPr>
          <a:xfrm>
            <a:off x="8707120" y="361951"/>
            <a:ext cx="3002280" cy="338459"/>
          </a:xfrm>
          <a:noFill/>
        </p:spPr>
        <p:txBody>
          <a:bodyPr anchor="t" anchorCtr="0"/>
          <a:lstStyle>
            <a:lvl1pPr algn="r">
              <a:defRPr sz="1000">
                <a:solidFill>
                  <a:srgbClr val="FF0000"/>
                </a:solidFill>
              </a:defRPr>
            </a:lvl1pPr>
          </a:lstStyle>
          <a:p>
            <a:r>
              <a:rPr lang="en-US" dirty="0" smtClean="0"/>
              <a:t>Placeholder for a third party or a client logo if needed.</a:t>
            </a:r>
            <a:br>
              <a:rPr lang="en-US" dirty="0" smtClean="0"/>
            </a:br>
            <a:endParaRPr lang="en-US" dirty="0" smtClean="0"/>
          </a:p>
        </p:txBody>
      </p:sp>
      <p:sp>
        <p:nvSpPr>
          <p:cNvPr id="18" name="Text Placeholder 7"/>
          <p:cNvSpPr>
            <a:spLocks noGrp="1"/>
          </p:cNvSpPr>
          <p:nvPr>
            <p:ph type="body" sz="quarter" idx="13" hasCustomPrompt="1"/>
          </p:nvPr>
        </p:nvSpPr>
        <p:spPr>
          <a:xfrm>
            <a:off x="8707120" y="1081847"/>
            <a:ext cx="2875280" cy="639323"/>
          </a:xfrm>
        </p:spPr>
        <p:txBody>
          <a:bodyPr/>
          <a:lstStyle>
            <a:lvl1pPr>
              <a:defRPr sz="1000" baseline="0">
                <a:solidFill>
                  <a:srgbClr val="FF0000"/>
                </a:solidFill>
              </a:defRPr>
            </a:lvl1pPr>
          </a:lstStyle>
          <a:p>
            <a:pPr lvl="0"/>
            <a:r>
              <a:rPr lang="en-US" dirty="0" smtClean="0"/>
              <a:t>Zoom in on placeholder until image icon appears. Click icon to insert your image. Once inserted, go to Format tab &gt; click Crop &gt; select “Fit”. Size up as needed if you have a vertical or square logo.  </a:t>
            </a:r>
          </a:p>
        </p:txBody>
      </p:sp>
      <p:sp>
        <p:nvSpPr>
          <p:cNvPr id="19" name="Text Placeholder 7"/>
          <p:cNvSpPr>
            <a:spLocks noGrp="1"/>
          </p:cNvSpPr>
          <p:nvPr>
            <p:ph type="body" sz="quarter" idx="14" hasCustomPrompt="1"/>
          </p:nvPr>
        </p:nvSpPr>
        <p:spPr>
          <a:xfrm>
            <a:off x="8648065" y="744032"/>
            <a:ext cx="213995" cy="288666"/>
          </a:xfrm>
          <a:prstGeom prst="upArrow">
            <a:avLst>
              <a:gd name="adj1" fmla="val 33976"/>
              <a:gd name="adj2" fmla="val 50000"/>
            </a:avLst>
          </a:prstGeom>
          <a:solidFill>
            <a:srgbClr val="FF0000"/>
          </a:solidFill>
        </p:spPr>
        <p:txBody>
          <a:bodyPr/>
          <a:lstStyle>
            <a:lvl1pPr>
              <a:defRPr sz="1000" baseline="0">
                <a:solidFill>
                  <a:srgbClr val="FF0000"/>
                </a:solidFill>
              </a:defRPr>
            </a:lvl1pPr>
          </a:lstStyle>
          <a:p>
            <a:pPr lvl="0"/>
            <a:r>
              <a:rPr lang="en-US" dirty="0" smtClean="0"/>
              <a:t> </a:t>
            </a:r>
          </a:p>
        </p:txBody>
      </p:sp>
      <p:sp>
        <p:nvSpPr>
          <p:cNvPr id="20" name="Text Placeholder 7"/>
          <p:cNvSpPr>
            <a:spLocks noGrp="1"/>
          </p:cNvSpPr>
          <p:nvPr>
            <p:ph type="body" sz="quarter" idx="15" hasCustomPrompt="1"/>
          </p:nvPr>
        </p:nvSpPr>
        <p:spPr>
          <a:xfrm>
            <a:off x="448437" y="816206"/>
            <a:ext cx="7243280" cy="752691"/>
          </a:xfrm>
          <a:noFill/>
        </p:spPr>
        <p:txBody>
          <a:bodyPr/>
          <a:lstStyle>
            <a:lvl1pPr>
              <a:spcAft>
                <a:spcPts val="0"/>
              </a:spcAft>
              <a:defRPr sz="1400" b="1" baseline="0">
                <a:solidFill>
                  <a:srgbClr val="FF0000"/>
                </a:solidFill>
              </a:defRPr>
            </a:lvl1pPr>
          </a:lstStyle>
          <a:p>
            <a:r>
              <a:rPr lang="en-US" dirty="0" smtClean="0"/>
              <a:t>Note: Use this format with a lighter photo as your background. If using a third party or client logo, it needs to have a transparent background and have enough contrast against the photo. Please visit company logo library on Global Sales SharePoint site. </a:t>
            </a:r>
          </a:p>
          <a:p>
            <a:endParaRPr lang="en-US" dirty="0" smtClean="0"/>
          </a:p>
        </p:txBody>
      </p:sp>
    </p:spTree>
    <p:extLst>
      <p:ext uri="{BB962C8B-B14F-4D97-AF65-F5344CB8AC3E}">
        <p14:creationId xmlns:p14="http://schemas.microsoft.com/office/powerpoint/2010/main" val="167556365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p:cSld name="BACK PAGES">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7FE7194-555C-BB44-A5DC-9D98C944E3BF}"/>
              </a:ext>
            </a:extLst>
          </p:cNvPr>
          <p:cNvGraphicFramePr>
            <a:graphicFrameLocks noChangeAspect="1"/>
          </p:cNvGraphicFramePr>
          <p:nvPr>
            <p:custDataLst>
              <p:tags r:id="rId2"/>
            </p:custDataLst>
            <p:extLst>
              <p:ext uri="{D42A27DB-BD31-4B8C-83A1-F6EECF244321}">
                <p14:modId xmlns:p14="http://schemas.microsoft.com/office/powerpoint/2010/main" val="66763143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0471"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A7FE7194-555C-BB44-A5DC-9D98C944E3BF}"/>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6A52E706-1FE4-5448-BF88-BDD1A5847DF0}"/>
              </a:ext>
            </a:extLst>
          </p:cNvPr>
          <p:cNvSpPr txBox="1"/>
          <p:nvPr/>
        </p:nvSpPr>
        <p:spPr>
          <a:xfrm>
            <a:off x="374977" y="2505671"/>
            <a:ext cx="8326575" cy="1846659"/>
          </a:xfrm>
          <a:prstGeom prst="rect">
            <a:avLst/>
          </a:prstGeom>
          <a:noFill/>
        </p:spPr>
        <p:txBody>
          <a:bodyPr wrap="none" lIns="0" tIns="0" rIns="0" bIns="0" rtlCol="0" anchor="ctr">
            <a:spAutoFit/>
          </a:bodyPr>
          <a:lstStyle/>
          <a:p>
            <a:pPr algn="l"/>
            <a:r>
              <a:rPr lang="en-US" sz="12000" b="1" i="0" dirty="0">
                <a:solidFill>
                  <a:schemeClr val="bg1"/>
                </a:solidFill>
                <a:latin typeface="Arial Narrow" panose="020B0604020202020204" pitchFamily="34" charset="0"/>
                <a:cs typeface="Arial Narrow" panose="020B0604020202020204" pitchFamily="34" charset="0"/>
              </a:rPr>
              <a:t>BACK PAGES</a:t>
            </a:r>
          </a:p>
        </p:txBody>
      </p:sp>
    </p:spTree>
    <p:extLst>
      <p:ext uri="{BB962C8B-B14F-4D97-AF65-F5344CB8AC3E}">
        <p14:creationId xmlns:p14="http://schemas.microsoft.com/office/powerpoint/2010/main" val="330247278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p:cSld name="Back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3E8E67B-1A95-A146-9973-BA03AD7ADB7D}"/>
              </a:ext>
            </a:extLst>
          </p:cNvPr>
          <p:cNvGraphicFramePr>
            <a:graphicFrameLocks noChangeAspect="1"/>
          </p:cNvGraphicFramePr>
          <p:nvPr>
            <p:custDataLst>
              <p:tags r:id="rId2"/>
            </p:custDataLst>
            <p:extLst>
              <p:ext uri="{D42A27DB-BD31-4B8C-83A1-F6EECF244321}">
                <p14:modId xmlns:p14="http://schemas.microsoft.com/office/powerpoint/2010/main" val="49440086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1495"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53E8E67B-1A95-A146-9973-BA03AD7ADB7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0E3EC6FD-E652-9349-AE1C-8BD4ACBE5962}"/>
              </a:ext>
            </a:extLst>
          </p:cNvPr>
          <p:cNvSpPr/>
          <p:nvPr/>
        </p:nvSpPr>
        <p:spPr>
          <a:xfrm>
            <a:off x="485775" y="6207380"/>
            <a:ext cx="2497222" cy="215444"/>
          </a:xfrm>
          <a:prstGeom prst="rect">
            <a:avLst/>
          </a:prstGeom>
        </p:spPr>
        <p:txBody>
          <a:bodyPr wrap="none" lIns="0" tIns="0" rIns="0" bIns="0">
            <a:spAutoFit/>
          </a:bodyPr>
          <a:lstStyle/>
          <a:p>
            <a:r>
              <a:rPr lang="en-US" sz="1400" dirty="0">
                <a:solidFill>
                  <a:schemeClr val="tx2"/>
                </a:solidFill>
                <a:effectLst/>
                <a:latin typeface="Arial" panose="020B0604020202020204" pitchFamily="34" charset="0"/>
              </a:rPr>
              <a:t>A business of Marsh McLennan</a:t>
            </a:r>
            <a:endParaRPr lang="en-US" sz="1400" dirty="0">
              <a:solidFill>
                <a:schemeClr val="tx2"/>
              </a:solidFill>
            </a:endParaRPr>
          </a:p>
        </p:txBody>
      </p:sp>
      <p:pic>
        <p:nvPicPr>
          <p:cNvPr id="5" name="Graphic 6">
            <a:extLst>
              <a:ext uri="{FF2B5EF4-FFF2-40B4-BE49-F238E27FC236}">
                <a16:creationId xmlns:a16="http://schemas.microsoft.com/office/drawing/2014/main" id="{41171F7F-6D9E-5F49-9AA3-DEF9F2C59F0F}"/>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10602" y="2947786"/>
            <a:ext cx="5082369" cy="618062"/>
          </a:xfrm>
          <a:prstGeom prst="rect">
            <a:avLst/>
          </a:prstGeom>
        </p:spPr>
      </p:pic>
    </p:spTree>
    <p:extLst>
      <p:ext uri="{BB962C8B-B14F-4D97-AF65-F5344CB8AC3E}">
        <p14:creationId xmlns:p14="http://schemas.microsoft.com/office/powerpoint/2010/main" val="6665309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p:cSld name="Back page blue">
    <p:bg>
      <p:bgPr>
        <a:solidFill>
          <a:schemeClr val="tx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3E8E67B-1A95-A146-9973-BA03AD7ADB7D}"/>
              </a:ext>
            </a:extLst>
          </p:cNvPr>
          <p:cNvGraphicFramePr>
            <a:graphicFrameLocks noChangeAspect="1"/>
          </p:cNvGraphicFramePr>
          <p:nvPr>
            <p:custDataLst>
              <p:tags r:id="rId2"/>
            </p:custDataLst>
            <p:extLst>
              <p:ext uri="{D42A27DB-BD31-4B8C-83A1-F6EECF244321}">
                <p14:modId xmlns:p14="http://schemas.microsoft.com/office/powerpoint/2010/main" val="9367766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2519"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53E8E67B-1A95-A146-9973-BA03AD7ADB7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9EBBD039-CADC-3842-8CB7-3BA3EBE03DB2}"/>
              </a:ext>
            </a:extLst>
          </p:cNvPr>
          <p:cNvSpPr/>
          <p:nvPr/>
        </p:nvSpPr>
        <p:spPr>
          <a:xfrm>
            <a:off x="485775" y="6207380"/>
            <a:ext cx="2497222" cy="215444"/>
          </a:xfrm>
          <a:prstGeom prst="rect">
            <a:avLst/>
          </a:prstGeom>
        </p:spPr>
        <p:txBody>
          <a:bodyPr wrap="none" lIns="0" tIns="0" rIns="0" bIns="0">
            <a:spAutoFit/>
          </a:bodyPr>
          <a:lstStyle/>
          <a:p>
            <a:r>
              <a:rPr lang="en-US" sz="1400" dirty="0">
                <a:solidFill>
                  <a:schemeClr val="bg1"/>
                </a:solidFill>
                <a:effectLst/>
                <a:latin typeface="Arial" panose="020B0604020202020204" pitchFamily="34" charset="0"/>
              </a:rPr>
              <a:t>A business of Marsh McLennan</a:t>
            </a:r>
            <a:endParaRPr lang="en-US" sz="1400" dirty="0">
              <a:solidFill>
                <a:schemeClr val="bg1"/>
              </a:solidFill>
            </a:endParaRPr>
          </a:p>
        </p:txBody>
      </p:sp>
      <p:pic>
        <p:nvPicPr>
          <p:cNvPr id="7" name="Graphic 6">
            <a:extLst>
              <a:ext uri="{FF2B5EF4-FFF2-40B4-BE49-F238E27FC236}">
                <a16:creationId xmlns:a16="http://schemas.microsoft.com/office/drawing/2014/main" id="{41171F7F-6D9E-5F49-9AA3-DEF9F2C59F0F}"/>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10602" y="2947786"/>
            <a:ext cx="5082368" cy="618062"/>
          </a:xfrm>
          <a:prstGeom prst="rect">
            <a:avLst/>
          </a:prstGeom>
        </p:spPr>
      </p:pic>
    </p:spTree>
    <p:extLst>
      <p:ext uri="{BB962C8B-B14F-4D97-AF65-F5344CB8AC3E}">
        <p14:creationId xmlns:p14="http://schemas.microsoft.com/office/powerpoint/2010/main" val="370667033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Back page: gradient">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3E8E67B-1A95-A146-9973-BA03AD7ADB7D}"/>
              </a:ext>
            </a:extLst>
          </p:cNvPr>
          <p:cNvGraphicFramePr>
            <a:graphicFrameLocks noChangeAspect="1"/>
          </p:cNvGraphicFramePr>
          <p:nvPr>
            <p:custDataLst>
              <p:tags r:id="rId2"/>
            </p:custDataLst>
            <p:extLst>
              <p:ext uri="{D42A27DB-BD31-4B8C-83A1-F6EECF244321}">
                <p14:modId xmlns:p14="http://schemas.microsoft.com/office/powerpoint/2010/main" val="420346984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67863"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53E8E67B-1A95-A146-9973-BA03AD7ADB7D}"/>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9EBBD039-CADC-3842-8CB7-3BA3EBE03DB2}"/>
              </a:ext>
            </a:extLst>
          </p:cNvPr>
          <p:cNvSpPr/>
          <p:nvPr/>
        </p:nvSpPr>
        <p:spPr>
          <a:xfrm>
            <a:off x="485775" y="6207380"/>
            <a:ext cx="2497222" cy="215444"/>
          </a:xfrm>
          <a:prstGeom prst="rect">
            <a:avLst/>
          </a:prstGeom>
        </p:spPr>
        <p:txBody>
          <a:bodyPr wrap="none" lIns="0" tIns="0" rIns="0" bIns="0">
            <a:spAutoFit/>
          </a:bodyPr>
          <a:lstStyle/>
          <a:p>
            <a:r>
              <a:rPr lang="en-US" sz="1400" dirty="0">
                <a:solidFill>
                  <a:schemeClr val="bg1"/>
                </a:solidFill>
                <a:effectLst/>
                <a:latin typeface="Arial" panose="020B0604020202020204" pitchFamily="34" charset="0"/>
              </a:rPr>
              <a:t>A business of Marsh McLennan</a:t>
            </a:r>
            <a:endParaRPr lang="en-US" sz="1400" dirty="0">
              <a:solidFill>
                <a:schemeClr val="bg1"/>
              </a:solidFill>
            </a:endParaRPr>
          </a:p>
        </p:txBody>
      </p:sp>
      <p:pic>
        <p:nvPicPr>
          <p:cNvPr id="7" name="Graphic 6">
            <a:extLst>
              <a:ext uri="{FF2B5EF4-FFF2-40B4-BE49-F238E27FC236}">
                <a16:creationId xmlns:a16="http://schemas.microsoft.com/office/drawing/2014/main" id="{41171F7F-6D9E-5F49-9AA3-DEF9F2C59F0F}"/>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410602" y="2947786"/>
            <a:ext cx="5082368" cy="618062"/>
          </a:xfrm>
          <a:prstGeom prst="rect">
            <a:avLst/>
          </a:prstGeom>
        </p:spPr>
      </p:pic>
    </p:spTree>
    <p:extLst>
      <p:ext uri="{BB962C8B-B14F-4D97-AF65-F5344CB8AC3E}">
        <p14:creationId xmlns:p14="http://schemas.microsoft.com/office/powerpoint/2010/main" val="72938924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Back page + disclaimer">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3E8E67B-1A95-A146-9973-BA03AD7ADB7D}"/>
              </a:ext>
            </a:extLst>
          </p:cNvPr>
          <p:cNvGraphicFramePr>
            <a:graphicFrameLocks noChangeAspect="1"/>
          </p:cNvGraphicFramePr>
          <p:nvPr>
            <p:custDataLst>
              <p:tags r:id="rId2"/>
            </p:custDataLst>
            <p:extLst>
              <p:ext uri="{D42A27DB-BD31-4B8C-83A1-F6EECF244321}">
                <p14:modId xmlns:p14="http://schemas.microsoft.com/office/powerpoint/2010/main" val="400616466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3543"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53E8E67B-1A95-A146-9973-BA03AD7ADB7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2" name="Text Placeholder 11">
            <a:extLst>
              <a:ext uri="{FF2B5EF4-FFF2-40B4-BE49-F238E27FC236}">
                <a16:creationId xmlns:a16="http://schemas.microsoft.com/office/drawing/2014/main" id="{DB97647A-7060-6441-95B5-4F3CABC16890}"/>
              </a:ext>
            </a:extLst>
          </p:cNvPr>
          <p:cNvSpPr>
            <a:spLocks noGrp="1"/>
          </p:cNvSpPr>
          <p:nvPr>
            <p:ph type="body" sz="quarter" idx="10" hasCustomPrompt="1"/>
          </p:nvPr>
        </p:nvSpPr>
        <p:spPr>
          <a:xfrm>
            <a:off x="485775" y="1609725"/>
            <a:ext cx="11223625" cy="3703320"/>
          </a:xfrm>
        </p:spPr>
        <p:txBody>
          <a:bodyPr anchor="t" anchorCtr="0">
            <a:normAutofit/>
          </a:bodyPr>
          <a:lstStyle>
            <a:lvl1pPr>
              <a:spcBef>
                <a:spcPts val="400"/>
              </a:spcBef>
              <a:defRPr sz="800">
                <a:solidFill>
                  <a:schemeClr val="tx2"/>
                </a:solidFill>
              </a:defRPr>
            </a:lvl1pPr>
          </a:lstStyle>
          <a:p>
            <a:pPr lvl="0"/>
            <a:r>
              <a:rPr lang="en-US" dirty="0"/>
              <a:t>Click to add disclaimer</a:t>
            </a:r>
          </a:p>
        </p:txBody>
      </p:sp>
      <p:sp>
        <p:nvSpPr>
          <p:cNvPr id="7" name="Rectangle 6">
            <a:extLst>
              <a:ext uri="{FF2B5EF4-FFF2-40B4-BE49-F238E27FC236}">
                <a16:creationId xmlns:a16="http://schemas.microsoft.com/office/drawing/2014/main" id="{42F49B1B-455D-374F-B8F9-2EFFBC395C19}"/>
              </a:ext>
            </a:extLst>
          </p:cNvPr>
          <p:cNvSpPr/>
          <p:nvPr/>
        </p:nvSpPr>
        <p:spPr>
          <a:xfrm>
            <a:off x="485775" y="6207380"/>
            <a:ext cx="2497222" cy="215444"/>
          </a:xfrm>
          <a:prstGeom prst="rect">
            <a:avLst/>
          </a:prstGeom>
        </p:spPr>
        <p:txBody>
          <a:bodyPr wrap="none" lIns="0" tIns="0" rIns="0" bIns="0">
            <a:spAutoFit/>
          </a:bodyPr>
          <a:lstStyle/>
          <a:p>
            <a:r>
              <a:rPr lang="en-US" sz="1400" dirty="0">
                <a:solidFill>
                  <a:schemeClr val="tx2"/>
                </a:solidFill>
                <a:effectLst/>
                <a:latin typeface="Arial" panose="020B0604020202020204" pitchFamily="34" charset="0"/>
              </a:rPr>
              <a:t>A business of Marsh McLennan</a:t>
            </a:r>
            <a:endParaRPr lang="en-US" sz="1400" dirty="0">
              <a:solidFill>
                <a:schemeClr val="tx2"/>
              </a:solidFill>
            </a:endParaRPr>
          </a:p>
        </p:txBody>
      </p:sp>
      <p:pic>
        <p:nvPicPr>
          <p:cNvPr id="8" name="Graphic 11">
            <a:extLst>
              <a:ext uri="{FF2B5EF4-FFF2-40B4-BE49-F238E27FC236}">
                <a16:creationId xmlns:a16="http://schemas.microsoft.com/office/drawing/2014/main" id="{4BDA5969-2C42-8648-93E3-BF7B87CBB66A}"/>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34339" y="528506"/>
            <a:ext cx="3612708" cy="439336"/>
          </a:xfrm>
          <a:prstGeom prst="rect">
            <a:avLst/>
          </a:prstGeom>
        </p:spPr>
      </p:pic>
    </p:spTree>
    <p:extLst>
      <p:ext uri="{BB962C8B-B14F-4D97-AF65-F5344CB8AC3E}">
        <p14:creationId xmlns:p14="http://schemas.microsoft.com/office/powerpoint/2010/main" val="90912518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p:cSld name="Back page blue + disclaimer">
    <p:bg>
      <p:bgPr>
        <a:solidFill>
          <a:schemeClr val="tx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3E8E67B-1A95-A146-9973-BA03AD7ADB7D}"/>
              </a:ext>
            </a:extLst>
          </p:cNvPr>
          <p:cNvGraphicFramePr>
            <a:graphicFrameLocks noChangeAspect="1"/>
          </p:cNvGraphicFramePr>
          <p:nvPr>
            <p:custDataLst>
              <p:tags r:id="rId2"/>
            </p:custDataLst>
            <p:extLst>
              <p:ext uri="{D42A27DB-BD31-4B8C-83A1-F6EECF244321}">
                <p14:modId xmlns:p14="http://schemas.microsoft.com/office/powerpoint/2010/main" val="132749369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4567"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53E8E67B-1A95-A146-9973-BA03AD7ADB7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4" name="Text Placeholder 11">
            <a:extLst>
              <a:ext uri="{FF2B5EF4-FFF2-40B4-BE49-F238E27FC236}">
                <a16:creationId xmlns:a16="http://schemas.microsoft.com/office/drawing/2014/main" id="{50A11EE6-855A-9049-A228-49ED1E9FCB28}"/>
              </a:ext>
            </a:extLst>
          </p:cNvPr>
          <p:cNvSpPr>
            <a:spLocks noGrp="1"/>
          </p:cNvSpPr>
          <p:nvPr>
            <p:ph type="body" sz="quarter" idx="10" hasCustomPrompt="1"/>
          </p:nvPr>
        </p:nvSpPr>
        <p:spPr>
          <a:xfrm>
            <a:off x="485775" y="1609725"/>
            <a:ext cx="11223625" cy="3703804"/>
          </a:xfrm>
        </p:spPr>
        <p:txBody>
          <a:bodyPr anchor="t" anchorCtr="0">
            <a:normAutofit/>
          </a:bodyPr>
          <a:lstStyle>
            <a:lvl1pPr>
              <a:spcBef>
                <a:spcPts val="400"/>
              </a:spcBef>
              <a:defRPr sz="800">
                <a:solidFill>
                  <a:schemeClr val="bg1"/>
                </a:solidFill>
              </a:defRPr>
            </a:lvl1pPr>
          </a:lstStyle>
          <a:p>
            <a:pPr lvl="0"/>
            <a:r>
              <a:rPr lang="en-US" dirty="0"/>
              <a:t>Click to add disclaimer</a:t>
            </a:r>
          </a:p>
        </p:txBody>
      </p:sp>
      <p:sp>
        <p:nvSpPr>
          <p:cNvPr id="8" name="TextBox 7">
            <a:extLst>
              <a:ext uri="{FF2B5EF4-FFF2-40B4-BE49-F238E27FC236}">
                <a16:creationId xmlns:a16="http://schemas.microsoft.com/office/drawing/2014/main" id="{0774C7E3-C8BD-E848-AACB-125BC2BDCD58}"/>
              </a:ext>
            </a:extLst>
          </p:cNvPr>
          <p:cNvSpPr txBox="1"/>
          <p:nvPr/>
        </p:nvSpPr>
        <p:spPr>
          <a:xfrm>
            <a:off x="474202" y="5585606"/>
            <a:ext cx="5874840" cy="535794"/>
          </a:xfrm>
          <a:prstGeom prst="rect">
            <a:avLst/>
          </a:prstGeom>
          <a:noFill/>
        </p:spPr>
        <p:txBody>
          <a:bodyPr wrap="square" lIns="0" tIns="0" rIns="0" bIns="0" rtlCol="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kern="1200" dirty="0">
                <a:solidFill>
                  <a:schemeClr val="tx2"/>
                </a:solidFill>
                <a:effectLst/>
                <a:latin typeface="+mn-lt"/>
                <a:ea typeface="+mn-ea"/>
                <a:cs typeface="+mn-cs"/>
              </a:rPr>
              <a:t>We are leaders in risk, strategy and people. One company, with four global businesses, united by a shared purpose to make a difference in the moments that matter.</a:t>
            </a:r>
          </a:p>
        </p:txBody>
      </p:sp>
      <p:sp>
        <p:nvSpPr>
          <p:cNvPr id="7" name="Rectangle 6">
            <a:extLst>
              <a:ext uri="{FF2B5EF4-FFF2-40B4-BE49-F238E27FC236}">
                <a16:creationId xmlns:a16="http://schemas.microsoft.com/office/drawing/2014/main" id="{2BB901D0-3F63-BF40-93C9-68ACEA3BFCE7}"/>
              </a:ext>
            </a:extLst>
          </p:cNvPr>
          <p:cNvSpPr/>
          <p:nvPr/>
        </p:nvSpPr>
        <p:spPr>
          <a:xfrm>
            <a:off x="485775" y="6207380"/>
            <a:ext cx="2497222" cy="215444"/>
          </a:xfrm>
          <a:prstGeom prst="rect">
            <a:avLst/>
          </a:prstGeom>
        </p:spPr>
        <p:txBody>
          <a:bodyPr wrap="none" lIns="0" tIns="0" rIns="0" bIns="0">
            <a:spAutoFit/>
          </a:bodyPr>
          <a:lstStyle/>
          <a:p>
            <a:r>
              <a:rPr lang="en-US" sz="1400" dirty="0">
                <a:solidFill>
                  <a:schemeClr val="bg1"/>
                </a:solidFill>
                <a:effectLst/>
                <a:latin typeface="Arial" panose="020B0604020202020204" pitchFamily="34" charset="0"/>
              </a:rPr>
              <a:t>A business of Marsh McLennan</a:t>
            </a:r>
            <a:endParaRPr lang="en-US" sz="1400" dirty="0">
              <a:solidFill>
                <a:schemeClr val="bg1"/>
              </a:solidFill>
            </a:endParaRPr>
          </a:p>
        </p:txBody>
      </p:sp>
      <p:pic>
        <p:nvPicPr>
          <p:cNvPr id="10" name="Graphic 11">
            <a:extLst>
              <a:ext uri="{FF2B5EF4-FFF2-40B4-BE49-F238E27FC236}">
                <a16:creationId xmlns:a16="http://schemas.microsoft.com/office/drawing/2014/main" id="{4BDA5969-2C42-8648-93E3-BF7B87CBB66A}"/>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34347" y="528506"/>
            <a:ext cx="3612691" cy="439336"/>
          </a:xfrm>
          <a:prstGeom prst="rect">
            <a:avLst/>
          </a:prstGeom>
        </p:spPr>
      </p:pic>
    </p:spTree>
    <p:extLst>
      <p:ext uri="{BB962C8B-B14F-4D97-AF65-F5344CB8AC3E}">
        <p14:creationId xmlns:p14="http://schemas.microsoft.com/office/powerpoint/2010/main" val="270782302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p:cSld name="Back page gradient + disclaimer">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3E8E67B-1A95-A146-9973-BA03AD7ADB7D}"/>
              </a:ext>
            </a:extLst>
          </p:cNvPr>
          <p:cNvGraphicFramePr>
            <a:graphicFrameLocks noChangeAspect="1"/>
          </p:cNvGraphicFramePr>
          <p:nvPr>
            <p:custDataLst>
              <p:tags r:id="rId2"/>
            </p:custDataLst>
            <p:extLst>
              <p:ext uri="{D42A27DB-BD31-4B8C-83A1-F6EECF244321}">
                <p14:modId xmlns:p14="http://schemas.microsoft.com/office/powerpoint/2010/main" val="139884224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68887"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53E8E67B-1A95-A146-9973-BA03AD7ADB7D}"/>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14" name="Text Placeholder 11">
            <a:extLst>
              <a:ext uri="{FF2B5EF4-FFF2-40B4-BE49-F238E27FC236}">
                <a16:creationId xmlns:a16="http://schemas.microsoft.com/office/drawing/2014/main" id="{50A11EE6-855A-9049-A228-49ED1E9FCB28}"/>
              </a:ext>
            </a:extLst>
          </p:cNvPr>
          <p:cNvSpPr>
            <a:spLocks noGrp="1"/>
          </p:cNvSpPr>
          <p:nvPr>
            <p:ph type="body" sz="quarter" idx="10" hasCustomPrompt="1"/>
          </p:nvPr>
        </p:nvSpPr>
        <p:spPr>
          <a:xfrm>
            <a:off x="485775" y="1609725"/>
            <a:ext cx="11223625" cy="3703804"/>
          </a:xfrm>
        </p:spPr>
        <p:txBody>
          <a:bodyPr anchor="t" anchorCtr="0">
            <a:normAutofit/>
          </a:bodyPr>
          <a:lstStyle>
            <a:lvl1pPr>
              <a:spcBef>
                <a:spcPts val="400"/>
              </a:spcBef>
              <a:defRPr sz="800">
                <a:solidFill>
                  <a:schemeClr val="bg1"/>
                </a:solidFill>
              </a:defRPr>
            </a:lvl1pPr>
          </a:lstStyle>
          <a:p>
            <a:pPr lvl="0"/>
            <a:r>
              <a:rPr lang="en-US" dirty="0"/>
              <a:t>Click to add disclaimer</a:t>
            </a:r>
          </a:p>
        </p:txBody>
      </p:sp>
      <p:sp>
        <p:nvSpPr>
          <p:cNvPr id="7" name="Rectangle 6">
            <a:extLst>
              <a:ext uri="{FF2B5EF4-FFF2-40B4-BE49-F238E27FC236}">
                <a16:creationId xmlns:a16="http://schemas.microsoft.com/office/drawing/2014/main" id="{2BB901D0-3F63-BF40-93C9-68ACEA3BFCE7}"/>
              </a:ext>
            </a:extLst>
          </p:cNvPr>
          <p:cNvSpPr/>
          <p:nvPr/>
        </p:nvSpPr>
        <p:spPr>
          <a:xfrm>
            <a:off x="485775" y="6207380"/>
            <a:ext cx="2497222" cy="215444"/>
          </a:xfrm>
          <a:prstGeom prst="rect">
            <a:avLst/>
          </a:prstGeom>
        </p:spPr>
        <p:txBody>
          <a:bodyPr wrap="none" lIns="0" tIns="0" rIns="0" bIns="0">
            <a:spAutoFit/>
          </a:bodyPr>
          <a:lstStyle/>
          <a:p>
            <a:r>
              <a:rPr lang="en-US" sz="1400" dirty="0">
                <a:solidFill>
                  <a:schemeClr val="bg1"/>
                </a:solidFill>
                <a:effectLst/>
                <a:latin typeface="Arial" panose="020B0604020202020204" pitchFamily="34" charset="0"/>
              </a:rPr>
              <a:t>A business of Marsh McLennan</a:t>
            </a:r>
            <a:endParaRPr lang="en-US" sz="1400" dirty="0">
              <a:solidFill>
                <a:schemeClr val="bg1"/>
              </a:solidFill>
            </a:endParaRPr>
          </a:p>
        </p:txBody>
      </p:sp>
      <p:pic>
        <p:nvPicPr>
          <p:cNvPr id="10" name="Graphic 11">
            <a:extLst>
              <a:ext uri="{FF2B5EF4-FFF2-40B4-BE49-F238E27FC236}">
                <a16:creationId xmlns:a16="http://schemas.microsoft.com/office/drawing/2014/main" id="{4BDA5969-2C42-8648-93E3-BF7B87CBB66A}"/>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434347" y="528506"/>
            <a:ext cx="3612691" cy="439336"/>
          </a:xfrm>
          <a:prstGeom prst="rect">
            <a:avLst/>
          </a:prstGeom>
        </p:spPr>
      </p:pic>
    </p:spTree>
    <p:extLst>
      <p:ext uri="{BB962C8B-B14F-4D97-AF65-F5344CB8AC3E}">
        <p14:creationId xmlns:p14="http://schemas.microsoft.com/office/powerpoint/2010/main" val="118271793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userDrawn="1">
  <p:cSld name="Title Slide">
    <p:bg>
      <p:bgPr>
        <a:blipFill>
          <a:blip r:embed="rId9"/>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custDataLst>
              <p:custData r:id="rId2"/>
            </p:custDataLst>
          </p:nvPr>
        </p:nvSpPr>
        <p:spPr>
          <a:xfrm>
            <a:off x="449961" y="1907921"/>
            <a:ext cx="9359900" cy="1601978"/>
          </a:xfrm>
        </p:spPr>
        <p:txBody>
          <a:bodyPr vert="horz"/>
          <a:lstStyle>
            <a:lvl1pPr>
              <a:lnSpc>
                <a:spcPct val="90000"/>
              </a:lnSpc>
              <a:defRPr sz="6000" b="1" i="0" cap="all" baseline="0">
                <a:solidFill>
                  <a:schemeClr val="lt1"/>
                </a:solidFill>
                <a:latin typeface="Arial Narrow" panose="020B0604020202020204" pitchFamily="34" charset="0"/>
                <a:cs typeface="Arial Narrow" panose="020B0604020202020204" pitchFamily="34" charset="0"/>
              </a:defRPr>
            </a:lvl1pPr>
          </a:lstStyle>
          <a:p>
            <a:r>
              <a:rPr lang="en-US" dirty="0" smtClean="0"/>
              <a:t>Main Title</a:t>
            </a:r>
            <a:endParaRPr lang="en-US" dirty="0"/>
          </a:p>
        </p:txBody>
      </p:sp>
      <p:sp>
        <p:nvSpPr>
          <p:cNvPr id="3" name="Subtitle 2"/>
          <p:cNvSpPr>
            <a:spLocks noGrp="1"/>
          </p:cNvSpPr>
          <p:nvPr>
            <p:ph type="subTitle" idx="1" hasCustomPrompt="1"/>
            <p:custDataLst>
              <p:custData r:id="rId3"/>
            </p:custDataLst>
          </p:nvPr>
        </p:nvSpPr>
        <p:spPr>
          <a:xfrm>
            <a:off x="467995" y="3708019"/>
            <a:ext cx="9323959" cy="791972"/>
          </a:xfrm>
        </p:spPr>
        <p:txBody>
          <a:bodyPr anchor="t"/>
          <a:lstStyle>
            <a:lvl1pPr marL="0" indent="0" algn="l">
              <a:buNone/>
              <a:defRPr sz="2400" cap="none">
                <a:solidFill>
                  <a:schemeClr val="lt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a:t>
            </a:r>
            <a:endParaRPr lang="en-US" dirty="0"/>
          </a:p>
        </p:txBody>
      </p:sp>
      <p:sp>
        <p:nvSpPr>
          <p:cNvPr id="8" name="Text Placeholder 3">
            <a:extLst>
              <a:ext uri="{FF2B5EF4-FFF2-40B4-BE49-F238E27FC236}">
                <a16:creationId xmlns:a16="http://schemas.microsoft.com/office/drawing/2014/main" id="{DC5380E5-0D04-B449-9282-B817A683373F}"/>
              </a:ext>
            </a:extLst>
          </p:cNvPr>
          <p:cNvSpPr>
            <a:spLocks noGrp="1"/>
          </p:cNvSpPr>
          <p:nvPr>
            <p:ph type="body" sz="half" idx="2" hasCustomPrompt="1"/>
            <p:custDataLst>
              <p:custData r:id="rId4"/>
            </p:custDataLst>
          </p:nvPr>
        </p:nvSpPr>
        <p:spPr>
          <a:xfrm>
            <a:off x="485775" y="4870800"/>
            <a:ext cx="7400925" cy="1038525"/>
          </a:xfrm>
        </p:spPr>
        <p:txBody>
          <a:bodyPr anchor="b" anchorCtr="0"/>
          <a:lstStyle>
            <a:lvl1pPr marL="0" marR="0" indent="0" algn="l" defTabSz="457200" rtl="0" eaLnBrk="1" fontAlgn="auto" latinLnBrk="0" hangingPunct="1">
              <a:lnSpc>
                <a:spcPct val="100000"/>
              </a:lnSpc>
              <a:spcBef>
                <a:spcPts val="0"/>
              </a:spcBef>
              <a:spcAft>
                <a:spcPts val="0"/>
              </a:spcAft>
              <a:buClrTx/>
              <a:buSzTx/>
              <a:buFont typeface="Arial"/>
              <a:buNone/>
              <a:tabLst/>
              <a:defRPr lang="en-GB" sz="1400">
                <a:solidFill>
                  <a:schemeClr val="lt1"/>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dirty="0" smtClean="0">
                <a:effectLst/>
                <a:latin typeface="Arial" panose="020B0604020202020204" pitchFamily="34" charset="0"/>
              </a:rPr>
              <a:t>Client name (optional)</a:t>
            </a:r>
            <a:br>
              <a:rPr lang="en-US" dirty="0" smtClean="0">
                <a:effectLst/>
                <a:latin typeface="Arial" panose="020B0604020202020204" pitchFamily="34" charset="0"/>
              </a:rPr>
            </a:br>
            <a:r>
              <a:rPr lang="en-US" dirty="0" smtClean="0">
                <a:effectLst/>
                <a:latin typeface="Arial" panose="020B0604020202020204" pitchFamily="34" charset="0"/>
              </a:rPr>
              <a:t>Month 00, 20XX</a:t>
            </a:r>
            <a:br>
              <a:rPr lang="en-US" dirty="0" smtClean="0">
                <a:effectLst/>
                <a:latin typeface="Arial" panose="020B0604020202020204" pitchFamily="34" charset="0"/>
              </a:rPr>
            </a:br>
            <a:r>
              <a:rPr lang="en-US" dirty="0" smtClean="0">
                <a:effectLst/>
                <a:latin typeface="Arial" panose="020B0604020202020204" pitchFamily="34" charset="0"/>
              </a:rPr>
              <a:t>Presenter1, Job Title, location  |  Presenter2, Job Title, location</a:t>
            </a:r>
            <a:br>
              <a:rPr lang="en-US" dirty="0" smtClean="0">
                <a:effectLst/>
                <a:latin typeface="Arial" panose="020B0604020202020204" pitchFamily="34" charset="0"/>
              </a:rPr>
            </a:br>
            <a:r>
              <a:rPr lang="en-US" dirty="0" smtClean="0">
                <a:effectLst/>
                <a:latin typeface="Arial" panose="020B0604020202020204" pitchFamily="34" charset="0"/>
              </a:rPr>
              <a:t/>
            </a:r>
            <a:br>
              <a:rPr lang="en-US" dirty="0" smtClean="0">
                <a:effectLst/>
                <a:latin typeface="Arial" panose="020B0604020202020204" pitchFamily="34" charset="0"/>
              </a:rPr>
            </a:br>
            <a:r>
              <a:rPr lang="en-US" dirty="0" smtClean="0">
                <a:effectLst/>
                <a:latin typeface="Arial" panose="020B0604020202020204" pitchFamily="34" charset="0"/>
              </a:rPr>
              <a:t>Tagline (optional)</a:t>
            </a:r>
            <a:endParaRPr lang="en-US" dirty="0">
              <a:effectLst/>
              <a:latin typeface="Arial" panose="020B0604020202020204" pitchFamily="34" charset="0"/>
            </a:endParaRPr>
          </a:p>
        </p:txBody>
      </p:sp>
      <p:sp>
        <p:nvSpPr>
          <p:cNvPr id="6" name="Rectangle 5">
            <a:extLst>
              <a:ext uri="{FF2B5EF4-FFF2-40B4-BE49-F238E27FC236}">
                <a16:creationId xmlns:a16="http://schemas.microsoft.com/office/drawing/2014/main" id="{8A000828-AFAC-3B45-BED9-82169A449934}"/>
              </a:ext>
            </a:extLst>
          </p:cNvPr>
          <p:cNvSpPr/>
          <p:nvPr userDrawn="1">
            <p:custDataLst>
              <p:custData r:id="rId5"/>
            </p:custDataLst>
          </p:nvPr>
        </p:nvSpPr>
        <p:spPr>
          <a:xfrm>
            <a:off x="485775" y="6257135"/>
            <a:ext cx="1785745" cy="153888"/>
          </a:xfrm>
          <a:prstGeom prst="rect">
            <a:avLst/>
          </a:prstGeom>
        </p:spPr>
        <p:txBody>
          <a:bodyPr wrap="none" lIns="0" tIns="0" rIns="0" bIns="0">
            <a:spAutoFit/>
          </a:bodyPr>
          <a:lstStyle/>
          <a:p>
            <a:r>
              <a:rPr lang="en-US" sz="1000" dirty="0" smtClean="0">
                <a:solidFill>
                  <a:schemeClr val="lt1"/>
                </a:solidFill>
                <a:effectLst/>
                <a:latin typeface="Arial" panose="020B0604020202020204" pitchFamily="34" charset="0"/>
              </a:rPr>
              <a:t>A business of Marsh McLennan</a:t>
            </a:r>
            <a:endParaRPr lang="en-US" sz="1000" dirty="0">
              <a:solidFill>
                <a:schemeClr val="lt1"/>
              </a:solidFill>
            </a:endParaRPr>
          </a:p>
        </p:txBody>
      </p:sp>
      <p:sp>
        <p:nvSpPr>
          <p:cNvPr id="9" name="Text Placeholder 1">
            <a:extLst>
              <a:ext uri="{FF2B5EF4-FFF2-40B4-BE49-F238E27FC236}">
                <a16:creationId xmlns:a16="http://schemas.microsoft.com/office/drawing/2014/main" id="{F5DB60D4-C4BB-8C4C-A2A4-B0EC5B5139BB}"/>
              </a:ext>
            </a:extLst>
          </p:cNvPr>
          <p:cNvSpPr txBox="1">
            <a:spLocks/>
          </p:cNvSpPr>
          <p:nvPr userDrawn="1">
            <p:custDataLst>
              <p:custData r:id="rId6"/>
            </p:custDataLst>
          </p:nvPr>
        </p:nvSpPr>
        <p:spPr>
          <a:xfrm>
            <a:off x="6210300" y="5909325"/>
            <a:ext cx="5499100" cy="469900"/>
          </a:xfrm>
          <a:prstGeom prst="rect">
            <a:avLst/>
          </a:prstGeom>
        </p:spPr>
        <p:txBody>
          <a:bodyPr vert="horz" lIns="0" tIns="0" rIns="0" bIns="0" rtlCol="0" anchor="b">
            <a:noAutofit/>
          </a:bodyPr>
          <a:lstStyle>
            <a:lvl1pPr marL="0" indent="0" algn="r" defTabSz="457200" rtl="0" eaLnBrk="1" latinLnBrk="0" hangingPunct="1">
              <a:spcBef>
                <a:spcPts val="900"/>
              </a:spcBef>
              <a:buFont typeface="Arial"/>
              <a:buNone/>
              <a:defRPr sz="800" b="0" kern="1200">
                <a:solidFill>
                  <a:schemeClr val="tx1"/>
                </a:solidFill>
                <a:latin typeface="+mn-lt"/>
                <a:ea typeface="+mn-ea"/>
                <a:cs typeface="+mn-cs"/>
              </a:defRPr>
            </a:lvl1pPr>
            <a:lvl2pPr marL="457200" indent="0" algn="l" defTabSz="457200" rtl="0" eaLnBrk="1" latinLnBrk="0" hangingPunct="1">
              <a:spcBef>
                <a:spcPts val="750"/>
              </a:spcBef>
              <a:buFont typeface="Arial" panose="020B0604020202020204" pitchFamily="34" charset="0"/>
              <a:buNone/>
              <a:tabLst/>
              <a:defRPr sz="1200" kern="1200">
                <a:solidFill>
                  <a:schemeClr val="tx1"/>
                </a:solidFill>
                <a:latin typeface="+mn-lt"/>
                <a:ea typeface="+mn-ea"/>
                <a:cs typeface="+mn-cs"/>
              </a:defRPr>
            </a:lvl2pPr>
            <a:lvl3pPr marL="914400" indent="0" algn="l" defTabSz="457200" rtl="0" eaLnBrk="1" latinLnBrk="0" hangingPunct="1">
              <a:spcBef>
                <a:spcPts val="600"/>
              </a:spcBef>
              <a:buFont typeface="Arial" panose="020B0604020202020204" pitchFamily="34" charset="0"/>
              <a:buNone/>
              <a:tabLst/>
              <a:defRPr sz="1000" kern="1200">
                <a:solidFill>
                  <a:schemeClr val="tx1"/>
                </a:solidFill>
                <a:latin typeface="+mn-lt"/>
                <a:ea typeface="+mn-ea"/>
                <a:cs typeface="+mn-cs"/>
              </a:defRPr>
            </a:lvl3pPr>
            <a:lvl4pPr marL="1371600" indent="0" algn="l" defTabSz="457200" rtl="0" eaLnBrk="1" latinLnBrk="0" hangingPunct="1">
              <a:spcBef>
                <a:spcPts val="600"/>
              </a:spcBef>
              <a:buFont typeface="Arial" panose="020B0604020202020204" pitchFamily="34" charset="0"/>
              <a:buNone/>
              <a:tabLst/>
              <a:defRPr sz="900" kern="1200">
                <a:solidFill>
                  <a:schemeClr val="tx1"/>
                </a:solidFill>
                <a:latin typeface="+mn-lt"/>
                <a:ea typeface="+mn-ea"/>
                <a:cs typeface="+mn-cs"/>
              </a:defRPr>
            </a:lvl4pPr>
            <a:lvl5pPr marL="1828800" indent="0" algn="l" defTabSz="457200" rtl="0" eaLnBrk="1" latinLnBrk="0" hangingPunct="1">
              <a:spcBef>
                <a:spcPts val="600"/>
              </a:spcBef>
              <a:buFont typeface="Arial" panose="020B0604020202020204" pitchFamily="34" charset="0"/>
              <a:buNone/>
              <a:tabLst/>
              <a:defRPr sz="900" kern="1200">
                <a:solidFill>
                  <a:schemeClr val="tx1"/>
                </a:solidFill>
                <a:latin typeface="+mn-lt"/>
                <a:ea typeface="+mn-ea"/>
                <a:cs typeface="+mn-cs"/>
              </a:defRPr>
            </a:lvl5pPr>
            <a:lvl6pPr marL="2286000" indent="0" algn="l" defTabSz="457200" rtl="0" eaLnBrk="1" latinLnBrk="0" hangingPunct="1">
              <a:spcBef>
                <a:spcPts val="600"/>
              </a:spcBef>
              <a:buFont typeface="Arial"/>
              <a:buNone/>
              <a:tabLst/>
              <a:defRPr sz="900" kern="1200">
                <a:solidFill>
                  <a:schemeClr val="tx1"/>
                </a:solidFill>
                <a:latin typeface="+mn-lt"/>
                <a:ea typeface="+mn-ea"/>
                <a:cs typeface="+mn-cs"/>
              </a:defRPr>
            </a:lvl6pPr>
            <a:lvl7pPr marL="2743200" indent="0" algn="l" defTabSz="457200" rtl="0" eaLnBrk="1" latinLnBrk="0" hangingPunct="1">
              <a:spcBef>
                <a:spcPts val="600"/>
              </a:spcBef>
              <a:buFont typeface="System Font Regular"/>
              <a:buNone/>
              <a:tabLst/>
              <a:defRPr sz="900" kern="1200">
                <a:solidFill>
                  <a:schemeClr val="tx1"/>
                </a:solidFill>
                <a:latin typeface="+mn-lt"/>
                <a:ea typeface="+mn-ea"/>
                <a:cs typeface="+mn-cs"/>
              </a:defRPr>
            </a:lvl7pPr>
            <a:lvl8pPr marL="3200400" indent="0" algn="l" defTabSz="457200" rtl="0" eaLnBrk="1" latinLnBrk="0" hangingPunct="1">
              <a:spcBef>
                <a:spcPts val="600"/>
              </a:spcBef>
              <a:buFont typeface="Arial"/>
              <a:buNone/>
              <a:tabLst/>
              <a:defRPr sz="900" kern="1200">
                <a:solidFill>
                  <a:schemeClr val="tx1"/>
                </a:solidFill>
                <a:latin typeface="+mn-lt"/>
                <a:ea typeface="+mn-ea"/>
                <a:cs typeface="+mn-cs"/>
              </a:defRPr>
            </a:lvl8pPr>
            <a:lvl9pPr marL="3657600" indent="0" algn="l" defTabSz="457200" rtl="0" eaLnBrk="1" latinLnBrk="0" hangingPunct="1">
              <a:spcBef>
                <a:spcPts val="600"/>
              </a:spcBef>
              <a:buFont typeface="System Font Regular"/>
              <a:buNone/>
              <a:tabLst/>
              <a:defRPr sz="900" kern="1200">
                <a:solidFill>
                  <a:schemeClr val="tx1"/>
                </a:solidFill>
                <a:latin typeface="+mn-lt"/>
                <a:ea typeface="+mn-ea"/>
                <a:cs typeface="+mn-cs"/>
              </a:defRPr>
            </a:lvl9pPr>
          </a:lstStyle>
          <a:p>
            <a:pPr>
              <a:spcBef>
                <a:spcPts val="0"/>
              </a:spcBef>
            </a:pPr>
            <a:endParaRPr lang="en-US" dirty="0">
              <a:solidFill>
                <a:schemeClr val="lt1"/>
              </a:solidFill>
            </a:endParaRPr>
          </a:p>
        </p:txBody>
      </p:sp>
      <p:sp>
        <p:nvSpPr>
          <p:cNvPr id="4" name="Tagline" hidden="1"/>
          <p:cNvSpPr txBox="1"/>
          <p:nvPr userDrawn="1">
            <p:custDataLst>
              <p:custData r:id="rId7"/>
            </p:custDataLst>
          </p:nvPr>
        </p:nvSpPr>
        <p:spPr>
          <a:xfrm>
            <a:off x="8128000" y="363600"/>
            <a:ext cx="3581400" cy="246221"/>
          </a:xfrm>
          <a:prstGeom prst="rect">
            <a:avLst/>
          </a:prstGeom>
          <a:noFill/>
        </p:spPr>
        <p:txBody>
          <a:bodyPr wrap="square" lIns="0" tIns="0" rIns="0" bIns="0" rtlCol="0">
            <a:spAutoFit/>
          </a:bodyPr>
          <a:lstStyle/>
          <a:p>
            <a:pPr algn="r"/>
            <a:endParaRPr lang="en-US" sz="1600" dirty="0">
              <a:solidFill>
                <a:schemeClr val="lt1"/>
              </a:solidFill>
            </a:endParaRPr>
          </a:p>
        </p:txBody>
      </p:sp>
      <p:pic>
        <p:nvPicPr>
          <p:cNvPr id="5" name="CoverMainLogo_WHITE"/>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bwMode="invGray">
          <a:xfrm>
            <a:off x="486029" y="345567"/>
            <a:ext cx="3044958" cy="335281"/>
          </a:xfrm>
          <a:prstGeom prst="rect">
            <a:avLst/>
          </a:prstGeom>
        </p:spPr>
      </p:pic>
      <p:pic>
        <p:nvPicPr>
          <p:cNvPr id="7" name="CoverMainLogo_COLOUR" hidden="1"/>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bwMode="invGray">
          <a:xfrm>
            <a:off x="486029" y="345567"/>
            <a:ext cx="3044958" cy="335281"/>
          </a:xfrm>
          <a:prstGeom prst="rect">
            <a:avLst/>
          </a:prstGeom>
        </p:spPr>
      </p:pic>
    </p:spTree>
    <p:custDataLst>
      <p:custData r:id="rId1"/>
    </p:custDataLst>
    <p:extLst>
      <p:ext uri="{BB962C8B-B14F-4D97-AF65-F5344CB8AC3E}">
        <p14:creationId xmlns:p14="http://schemas.microsoft.com/office/powerpoint/2010/main" val="329125741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2"/>
            </p:custDataLst>
            <p:extLst>
              <p:ext uri="{D42A27DB-BD31-4B8C-83A1-F6EECF244321}">
                <p14:modId xmlns:p14="http://schemas.microsoft.com/office/powerpoint/2010/main" val="385281386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6439"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sz="half" idx="1"/>
          </p:nvPr>
        </p:nvSpPr>
        <p:spPr>
          <a:xfrm>
            <a:off x="485775" y="1609726"/>
            <a:ext cx="5495925" cy="4511674"/>
          </a:xfrm>
        </p:spPr>
        <p:txBody>
          <a:bodyPr/>
          <a:lstStyle>
            <a:lvl1pPr>
              <a:defRPr sz="1800"/>
            </a:lvl1pPr>
            <a:lvl2pPr>
              <a:defRPr sz="15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210303" y="1609725"/>
            <a:ext cx="5499098" cy="4511675"/>
          </a:xfrm>
        </p:spPr>
        <p:txBody>
          <a:bodyPr/>
          <a:lstStyle>
            <a:lvl1pPr>
              <a:defRPr sz="1800"/>
            </a:lvl1pPr>
            <a:lvl2pPr>
              <a:defRPr sz="15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ext Placeholder 3">
            <a:extLst>
              <a:ext uri="{FF2B5EF4-FFF2-40B4-BE49-F238E27FC236}">
                <a16:creationId xmlns:a16="http://schemas.microsoft.com/office/drawing/2014/main" id="{25820687-C0F4-2440-8B1E-0B8E11D80213}"/>
              </a:ext>
            </a:extLst>
          </p:cNvPr>
          <p:cNvSpPr>
            <a:spLocks noGrp="1"/>
          </p:cNvSpPr>
          <p:nvPr>
            <p:ph type="body" sz="half" idx="11" hasCustomPrompt="1"/>
          </p:nvPr>
        </p:nvSpPr>
        <p:spPr>
          <a:xfrm>
            <a:off x="6210304" y="6388100"/>
            <a:ext cx="4546596" cy="247650"/>
          </a:xfrm>
        </p:spPr>
        <p:txBody>
          <a:bodyPr anchor="b"/>
          <a:lstStyle>
            <a:lvl1pPr marL="0" indent="0" algn="r">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a footnote</a:t>
            </a:r>
          </a:p>
        </p:txBody>
      </p:sp>
      <p:sp>
        <p:nvSpPr>
          <p:cNvPr id="10" name="Title 1">
            <a:extLst>
              <a:ext uri="{FF2B5EF4-FFF2-40B4-BE49-F238E27FC236}">
                <a16:creationId xmlns:a16="http://schemas.microsoft.com/office/drawing/2014/main" id="{F39CC0C0-5779-B349-BDDB-E539A51CC8CA}"/>
              </a:ext>
            </a:extLst>
          </p:cNvPr>
          <p:cNvSpPr>
            <a:spLocks noGrp="1"/>
          </p:cNvSpPr>
          <p:nvPr>
            <p:ph type="title" hasCustomPrompt="1"/>
          </p:nvPr>
        </p:nvSpPr>
        <p:spPr>
          <a:xfrm>
            <a:off x="457200" y="355601"/>
            <a:ext cx="11252199" cy="495299"/>
          </a:xfrm>
        </p:spPr>
        <p:txBody>
          <a:bodyPr vert="horz"/>
          <a:lstStyle/>
          <a:p>
            <a:r>
              <a:rPr lang="en-US" dirty="0"/>
              <a:t>Click to add title</a:t>
            </a:r>
          </a:p>
        </p:txBody>
      </p:sp>
      <p:sp>
        <p:nvSpPr>
          <p:cNvPr id="11" name="Text Placeholder 3">
            <a:extLst>
              <a:ext uri="{FF2B5EF4-FFF2-40B4-BE49-F238E27FC236}">
                <a16:creationId xmlns:a16="http://schemas.microsoft.com/office/drawing/2014/main" id="{AF3391C4-98D7-4747-8880-F82E7546E92C}"/>
              </a:ext>
            </a:extLst>
          </p:cNvPr>
          <p:cNvSpPr>
            <a:spLocks noGrp="1"/>
          </p:cNvSpPr>
          <p:nvPr>
            <p:ph type="body" sz="half" idx="12"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Click to add optional subtitle – remove if not needed</a:t>
            </a:r>
            <a:endParaRPr lang="en-US" dirty="0"/>
          </a:p>
        </p:txBody>
      </p:sp>
    </p:spTree>
    <p:extLst>
      <p:ext uri="{BB962C8B-B14F-4D97-AF65-F5344CB8AC3E}">
        <p14:creationId xmlns:p14="http://schemas.microsoft.com/office/powerpoint/2010/main" val="324423865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2"/>
            </p:custDataLst>
            <p:extLst>
              <p:ext uri="{D42A27DB-BD31-4B8C-83A1-F6EECF244321}">
                <p14:modId xmlns:p14="http://schemas.microsoft.com/office/powerpoint/2010/main" val="233318161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7463"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sz="half" idx="1"/>
          </p:nvPr>
        </p:nvSpPr>
        <p:spPr>
          <a:xfrm>
            <a:off x="485777" y="1616075"/>
            <a:ext cx="3578224" cy="4505325"/>
          </a:xfrm>
        </p:spPr>
        <p:txBody>
          <a:bodyPr/>
          <a:lstStyle>
            <a:lvl1pPr>
              <a:spcBef>
                <a:spcPts val="750"/>
              </a:spcBef>
              <a:defRPr sz="1500"/>
            </a:lvl1pPr>
            <a:lvl2pPr>
              <a:spcBef>
                <a:spcPts val="600"/>
              </a:spcBef>
              <a:defRPr sz="1200"/>
            </a:lvl2pPr>
            <a:lvl3pPr>
              <a:spcBef>
                <a:spcPts val="600"/>
              </a:spcBef>
              <a:defRPr sz="1200"/>
            </a:lvl3pPr>
            <a:lvl4pPr>
              <a:defRPr sz="1200"/>
            </a:lvl4pPr>
            <a:lvl5pPr>
              <a:defRPr sz="1200"/>
            </a:lvl5pPr>
            <a:lvl6pPr>
              <a:defRPr sz="1800"/>
            </a:lvl6pPr>
            <a:lvl7pPr>
              <a:defRPr sz="1800"/>
            </a:lvl7pPr>
            <a:lvl8pPr>
              <a:defRPr sz="1800"/>
            </a:lvl8pPr>
            <a:lvl9pPr>
              <a:defRPr sz="1800"/>
            </a:lvl9pPr>
          </a:lstStyle>
          <a:p>
            <a:pPr lvl="0"/>
            <a:r>
              <a:rPr lang="en-US" smtClean="0"/>
              <a:t>Edit Master text styles</a:t>
            </a:r>
          </a:p>
          <a:p>
            <a:pPr lvl="1"/>
            <a:r>
              <a:rPr lang="en-US" smtClean="0"/>
              <a:t>Second level</a:t>
            </a:r>
          </a:p>
          <a:p>
            <a:pPr lvl="2"/>
            <a:r>
              <a:rPr lang="en-US" smtClean="0"/>
              <a:t>Third level</a:t>
            </a:r>
          </a:p>
        </p:txBody>
      </p:sp>
      <p:sp>
        <p:nvSpPr>
          <p:cNvPr id="4" name="Content Placeholder 3"/>
          <p:cNvSpPr>
            <a:spLocks noGrp="1"/>
          </p:cNvSpPr>
          <p:nvPr>
            <p:ph sz="half" idx="2"/>
          </p:nvPr>
        </p:nvSpPr>
        <p:spPr>
          <a:xfrm>
            <a:off x="4317755" y="1616075"/>
            <a:ext cx="3578224" cy="4505325"/>
          </a:xfrm>
        </p:spPr>
        <p:txBody>
          <a:bodyPr/>
          <a:lstStyle>
            <a:lvl1pPr>
              <a:spcBef>
                <a:spcPts val="750"/>
              </a:spcBef>
              <a:defRPr sz="1500"/>
            </a:lvl1pPr>
            <a:lvl2pPr>
              <a:spcBef>
                <a:spcPts val="600"/>
              </a:spcBef>
              <a:defRPr sz="1200"/>
            </a:lvl2pPr>
            <a:lvl3pPr>
              <a:spcBef>
                <a:spcPts val="600"/>
              </a:spcBef>
              <a:defRPr sz="1200"/>
            </a:lvl3pPr>
            <a:lvl4pPr>
              <a:defRPr sz="1200"/>
            </a:lvl4pPr>
            <a:lvl5pPr>
              <a:defRPr sz="1200"/>
            </a:lvl5pPr>
            <a:lvl6pPr>
              <a:defRPr sz="1800"/>
            </a:lvl6pPr>
            <a:lvl7pPr>
              <a:defRPr sz="1800"/>
            </a:lvl7pPr>
            <a:lvl8pPr>
              <a:defRPr sz="1800"/>
            </a:lvl8pPr>
            <a:lvl9pPr>
              <a:defRPr sz="1800"/>
            </a:lvl9pPr>
          </a:lstStyle>
          <a:p>
            <a:pPr lvl="0"/>
            <a:r>
              <a:rPr lang="en-US" smtClean="0"/>
              <a:t>Edit Master text styles</a:t>
            </a:r>
          </a:p>
          <a:p>
            <a:pPr lvl="1"/>
            <a:r>
              <a:rPr lang="en-US" smtClean="0"/>
              <a:t>Second level</a:t>
            </a:r>
          </a:p>
          <a:p>
            <a:pPr lvl="2"/>
            <a:r>
              <a:rPr lang="en-US" smtClean="0"/>
              <a:t>Third level</a:t>
            </a:r>
          </a:p>
        </p:txBody>
      </p:sp>
      <p:sp>
        <p:nvSpPr>
          <p:cNvPr id="8" name="Content Placeholder 3">
            <a:extLst>
              <a:ext uri="{FF2B5EF4-FFF2-40B4-BE49-F238E27FC236}">
                <a16:creationId xmlns:a16="http://schemas.microsoft.com/office/drawing/2014/main" id="{04B5F84D-BA5B-A945-9914-2C68E13D2B66}"/>
              </a:ext>
            </a:extLst>
          </p:cNvPr>
          <p:cNvSpPr>
            <a:spLocks noGrp="1"/>
          </p:cNvSpPr>
          <p:nvPr>
            <p:ph sz="half" idx="11"/>
          </p:nvPr>
        </p:nvSpPr>
        <p:spPr>
          <a:xfrm>
            <a:off x="8128000" y="1616075"/>
            <a:ext cx="3578223" cy="4505326"/>
          </a:xfrm>
        </p:spPr>
        <p:txBody>
          <a:bodyPr/>
          <a:lstStyle>
            <a:lvl1pPr>
              <a:spcBef>
                <a:spcPts val="750"/>
              </a:spcBef>
              <a:defRPr sz="1500"/>
            </a:lvl1pPr>
            <a:lvl2pPr>
              <a:spcBef>
                <a:spcPts val="600"/>
              </a:spcBef>
              <a:defRPr sz="1200"/>
            </a:lvl2pPr>
            <a:lvl3pPr>
              <a:spcBef>
                <a:spcPts val="600"/>
              </a:spcBef>
              <a:defRPr sz="1200"/>
            </a:lvl3pPr>
            <a:lvl4pPr>
              <a:defRPr sz="1200"/>
            </a:lvl4pPr>
            <a:lvl5pPr>
              <a:defRPr sz="1200"/>
            </a:lvl5pPr>
            <a:lvl6pPr>
              <a:defRPr sz="1800"/>
            </a:lvl6pPr>
            <a:lvl7pPr>
              <a:defRPr sz="1800"/>
            </a:lvl7pPr>
            <a:lvl8pPr>
              <a:defRPr sz="1800"/>
            </a:lvl8pPr>
            <a:lvl9pPr>
              <a:defRPr sz="1800"/>
            </a:lvl9pPr>
          </a:lstStyle>
          <a:p>
            <a:pPr lvl="0"/>
            <a:r>
              <a:rPr lang="en-US" smtClean="0"/>
              <a:t>Edit Master text styles</a:t>
            </a:r>
          </a:p>
          <a:p>
            <a:pPr lvl="1"/>
            <a:r>
              <a:rPr lang="en-US" smtClean="0"/>
              <a:t>Second level</a:t>
            </a:r>
          </a:p>
          <a:p>
            <a:pPr lvl="2"/>
            <a:r>
              <a:rPr lang="en-US" smtClean="0"/>
              <a:t>Third level</a:t>
            </a:r>
          </a:p>
        </p:txBody>
      </p:sp>
      <p:sp>
        <p:nvSpPr>
          <p:cNvPr id="10" name="Text Placeholder 3">
            <a:extLst>
              <a:ext uri="{FF2B5EF4-FFF2-40B4-BE49-F238E27FC236}">
                <a16:creationId xmlns:a16="http://schemas.microsoft.com/office/drawing/2014/main" id="{46026CD4-41A6-2745-806A-108B86DE8600}"/>
              </a:ext>
            </a:extLst>
          </p:cNvPr>
          <p:cNvSpPr>
            <a:spLocks noGrp="1"/>
          </p:cNvSpPr>
          <p:nvPr>
            <p:ph type="body" sz="half" idx="12" hasCustomPrompt="1"/>
          </p:nvPr>
        </p:nvSpPr>
        <p:spPr>
          <a:xfrm>
            <a:off x="6210301" y="6388100"/>
            <a:ext cx="4546600" cy="247650"/>
          </a:xfrm>
        </p:spPr>
        <p:txBody>
          <a:bodyPr anchor="b"/>
          <a:lstStyle>
            <a:lvl1pPr marL="0" indent="0" algn="r">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a footnote</a:t>
            </a:r>
          </a:p>
        </p:txBody>
      </p:sp>
      <p:sp>
        <p:nvSpPr>
          <p:cNvPr id="11" name="Title 1">
            <a:extLst>
              <a:ext uri="{FF2B5EF4-FFF2-40B4-BE49-F238E27FC236}">
                <a16:creationId xmlns:a16="http://schemas.microsoft.com/office/drawing/2014/main" id="{24127F47-2151-2E4E-804E-5041FF74C799}"/>
              </a:ext>
            </a:extLst>
          </p:cNvPr>
          <p:cNvSpPr>
            <a:spLocks noGrp="1"/>
          </p:cNvSpPr>
          <p:nvPr>
            <p:ph type="title" hasCustomPrompt="1"/>
          </p:nvPr>
        </p:nvSpPr>
        <p:spPr>
          <a:xfrm>
            <a:off x="457200" y="355601"/>
            <a:ext cx="11252199" cy="495299"/>
          </a:xfrm>
        </p:spPr>
        <p:txBody>
          <a:bodyPr vert="horz"/>
          <a:lstStyle/>
          <a:p>
            <a:r>
              <a:rPr lang="en-US" dirty="0"/>
              <a:t>Click to add title</a:t>
            </a:r>
          </a:p>
        </p:txBody>
      </p:sp>
      <p:sp>
        <p:nvSpPr>
          <p:cNvPr id="12" name="Text Placeholder 3">
            <a:extLst>
              <a:ext uri="{FF2B5EF4-FFF2-40B4-BE49-F238E27FC236}">
                <a16:creationId xmlns:a16="http://schemas.microsoft.com/office/drawing/2014/main" id="{1AB0AB67-B739-1E41-9B7F-40BDB88E8937}"/>
              </a:ext>
            </a:extLst>
          </p:cNvPr>
          <p:cNvSpPr>
            <a:spLocks noGrp="1"/>
          </p:cNvSpPr>
          <p:nvPr>
            <p:ph type="body" sz="half" idx="13"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Click to add optional subtitle – remove if not needed</a:t>
            </a:r>
            <a:endParaRPr lang="en-US" dirty="0"/>
          </a:p>
        </p:txBody>
      </p:sp>
    </p:spTree>
    <p:extLst>
      <p:ext uri="{BB962C8B-B14F-4D97-AF65-F5344CB8AC3E}">
        <p14:creationId xmlns:p14="http://schemas.microsoft.com/office/powerpoint/2010/main" val="211279257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Four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2"/>
            </p:custDataLst>
            <p:extLst>
              <p:ext uri="{D42A27DB-BD31-4B8C-83A1-F6EECF244321}">
                <p14:modId xmlns:p14="http://schemas.microsoft.com/office/powerpoint/2010/main" val="416056109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8487"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sz="half" idx="1"/>
          </p:nvPr>
        </p:nvSpPr>
        <p:spPr>
          <a:xfrm>
            <a:off x="485776" y="1616075"/>
            <a:ext cx="2626455" cy="4513518"/>
          </a:xfrm>
        </p:spPr>
        <p:txBody>
          <a:bodyPr/>
          <a:lstStyle>
            <a:lvl1pPr>
              <a:spcBef>
                <a:spcPts val="750"/>
              </a:spcBef>
              <a:defRPr sz="1500"/>
            </a:lvl1pPr>
            <a:lvl2pPr>
              <a:spcBef>
                <a:spcPts val="600"/>
              </a:spcBef>
              <a:defRPr sz="1200"/>
            </a:lvl2pPr>
            <a:lvl3pPr>
              <a:spcBef>
                <a:spcPts val="600"/>
              </a:spcBef>
              <a:defRPr sz="1200"/>
            </a:lvl3pPr>
            <a:lvl4pPr>
              <a:defRPr sz="1200"/>
            </a:lvl4pPr>
            <a:lvl5pPr>
              <a:defRPr sz="1200"/>
            </a:lvl5pPr>
            <a:lvl6pPr>
              <a:defRPr sz="1800"/>
            </a:lvl6pPr>
            <a:lvl7pPr>
              <a:defRPr sz="1800"/>
            </a:lvl7pPr>
            <a:lvl8pPr>
              <a:defRPr sz="1800"/>
            </a:lvl8pPr>
            <a:lvl9pPr>
              <a:defRPr sz="1800"/>
            </a:lvl9pPr>
          </a:lstStyle>
          <a:p>
            <a:pPr lvl="0"/>
            <a:r>
              <a:rPr lang="en-US" smtClean="0"/>
              <a:t>Edit Master text styles</a:t>
            </a:r>
          </a:p>
          <a:p>
            <a:pPr lvl="1"/>
            <a:r>
              <a:rPr lang="en-US" smtClean="0"/>
              <a:t>Second level</a:t>
            </a:r>
          </a:p>
          <a:p>
            <a:pPr lvl="2"/>
            <a:r>
              <a:rPr lang="en-US" smtClean="0"/>
              <a:t>Third level</a:t>
            </a:r>
          </a:p>
        </p:txBody>
      </p:sp>
      <p:sp>
        <p:nvSpPr>
          <p:cNvPr id="4" name="Content Placeholder 3"/>
          <p:cNvSpPr>
            <a:spLocks noGrp="1"/>
          </p:cNvSpPr>
          <p:nvPr>
            <p:ph sz="half" idx="2"/>
          </p:nvPr>
        </p:nvSpPr>
        <p:spPr>
          <a:xfrm>
            <a:off x="3352800" y="1616075"/>
            <a:ext cx="2628900" cy="4513518"/>
          </a:xfrm>
        </p:spPr>
        <p:txBody>
          <a:bodyPr/>
          <a:lstStyle>
            <a:lvl1pPr>
              <a:spcBef>
                <a:spcPts val="750"/>
              </a:spcBef>
              <a:defRPr sz="1500"/>
            </a:lvl1pPr>
            <a:lvl2pPr>
              <a:spcBef>
                <a:spcPts val="600"/>
              </a:spcBef>
              <a:defRPr sz="1200"/>
            </a:lvl2pPr>
            <a:lvl3pPr>
              <a:spcBef>
                <a:spcPts val="600"/>
              </a:spcBef>
              <a:defRPr sz="1200"/>
            </a:lvl3pPr>
            <a:lvl4pPr>
              <a:defRPr sz="1200"/>
            </a:lvl4pPr>
            <a:lvl5pPr>
              <a:defRPr sz="1200"/>
            </a:lvl5pPr>
            <a:lvl6pPr>
              <a:defRPr sz="1800"/>
            </a:lvl6pPr>
            <a:lvl7pPr>
              <a:defRPr sz="1800"/>
            </a:lvl7pPr>
            <a:lvl8pPr>
              <a:defRPr sz="1800"/>
            </a:lvl8pPr>
            <a:lvl9pPr>
              <a:defRPr sz="1800"/>
            </a:lvl9pPr>
          </a:lstStyle>
          <a:p>
            <a:pPr lvl="0"/>
            <a:r>
              <a:rPr lang="en-US" smtClean="0"/>
              <a:t>Edit Master text styles</a:t>
            </a:r>
          </a:p>
          <a:p>
            <a:pPr lvl="1"/>
            <a:r>
              <a:rPr lang="en-US" smtClean="0"/>
              <a:t>Second level</a:t>
            </a:r>
          </a:p>
          <a:p>
            <a:pPr lvl="2"/>
            <a:r>
              <a:rPr lang="en-US" smtClean="0"/>
              <a:t>Third level</a:t>
            </a:r>
          </a:p>
        </p:txBody>
      </p:sp>
      <p:sp>
        <p:nvSpPr>
          <p:cNvPr id="8" name="Content Placeholder 3">
            <a:extLst>
              <a:ext uri="{FF2B5EF4-FFF2-40B4-BE49-F238E27FC236}">
                <a16:creationId xmlns:a16="http://schemas.microsoft.com/office/drawing/2014/main" id="{04B5F84D-BA5B-A945-9914-2C68E13D2B66}"/>
              </a:ext>
            </a:extLst>
          </p:cNvPr>
          <p:cNvSpPr>
            <a:spLocks noGrp="1"/>
          </p:cNvSpPr>
          <p:nvPr>
            <p:ph sz="half" idx="11"/>
          </p:nvPr>
        </p:nvSpPr>
        <p:spPr>
          <a:xfrm>
            <a:off x="9089292" y="1616075"/>
            <a:ext cx="2616932" cy="4513518"/>
          </a:xfrm>
        </p:spPr>
        <p:txBody>
          <a:bodyPr/>
          <a:lstStyle>
            <a:lvl1pPr>
              <a:spcBef>
                <a:spcPts val="750"/>
              </a:spcBef>
              <a:defRPr sz="1500"/>
            </a:lvl1pPr>
            <a:lvl2pPr>
              <a:spcBef>
                <a:spcPts val="600"/>
              </a:spcBef>
              <a:defRPr sz="1200"/>
            </a:lvl2pPr>
            <a:lvl3pPr>
              <a:spcBef>
                <a:spcPts val="600"/>
              </a:spcBef>
              <a:defRPr sz="1200"/>
            </a:lvl3pPr>
            <a:lvl4pPr>
              <a:defRPr sz="1200"/>
            </a:lvl4pPr>
            <a:lvl5pPr>
              <a:defRPr sz="1200"/>
            </a:lvl5pPr>
            <a:lvl6pPr>
              <a:defRPr sz="1800"/>
            </a:lvl6pPr>
            <a:lvl7pPr>
              <a:defRPr sz="1800"/>
            </a:lvl7pPr>
            <a:lvl8pPr>
              <a:defRPr sz="1800"/>
            </a:lvl8pPr>
            <a:lvl9pPr>
              <a:defRPr sz="1800"/>
            </a:lvl9pPr>
          </a:lstStyle>
          <a:p>
            <a:pPr lvl="0"/>
            <a:r>
              <a:rPr lang="en-US" smtClean="0"/>
              <a:t>Edit Master text styles</a:t>
            </a:r>
          </a:p>
          <a:p>
            <a:pPr lvl="1"/>
            <a:r>
              <a:rPr lang="en-US" smtClean="0"/>
              <a:t>Second level</a:t>
            </a:r>
          </a:p>
          <a:p>
            <a:pPr lvl="2"/>
            <a:r>
              <a:rPr lang="en-US" smtClean="0"/>
              <a:t>Third level</a:t>
            </a:r>
          </a:p>
        </p:txBody>
      </p:sp>
      <p:sp>
        <p:nvSpPr>
          <p:cNvPr id="9" name="Content Placeholder 3">
            <a:extLst>
              <a:ext uri="{FF2B5EF4-FFF2-40B4-BE49-F238E27FC236}">
                <a16:creationId xmlns:a16="http://schemas.microsoft.com/office/drawing/2014/main" id="{90CFE4A1-AAEA-9742-8946-359C3F5D0A1A}"/>
              </a:ext>
            </a:extLst>
          </p:cNvPr>
          <p:cNvSpPr>
            <a:spLocks noGrp="1"/>
          </p:cNvSpPr>
          <p:nvPr>
            <p:ph sz="half" idx="12"/>
          </p:nvPr>
        </p:nvSpPr>
        <p:spPr>
          <a:xfrm>
            <a:off x="6219823" y="1616075"/>
            <a:ext cx="2619377" cy="4513518"/>
          </a:xfrm>
        </p:spPr>
        <p:txBody>
          <a:bodyPr/>
          <a:lstStyle>
            <a:lvl1pPr>
              <a:spcBef>
                <a:spcPts val="750"/>
              </a:spcBef>
              <a:defRPr sz="1500"/>
            </a:lvl1pPr>
            <a:lvl2pPr>
              <a:spcBef>
                <a:spcPts val="600"/>
              </a:spcBef>
              <a:defRPr sz="1200"/>
            </a:lvl2pPr>
            <a:lvl3pPr>
              <a:spcBef>
                <a:spcPts val="600"/>
              </a:spcBef>
              <a:defRPr sz="1200"/>
            </a:lvl3pPr>
            <a:lvl4pPr>
              <a:defRPr sz="1200"/>
            </a:lvl4pPr>
            <a:lvl5pPr>
              <a:defRPr sz="1200"/>
            </a:lvl5pPr>
            <a:lvl6pPr>
              <a:defRPr sz="1800"/>
            </a:lvl6pPr>
            <a:lvl7pPr>
              <a:defRPr sz="1800"/>
            </a:lvl7pPr>
            <a:lvl8pPr>
              <a:defRPr sz="1800"/>
            </a:lvl8pPr>
            <a:lvl9pPr>
              <a:defRPr sz="1800"/>
            </a:lvl9pPr>
          </a:lstStyle>
          <a:p>
            <a:pPr lvl="0"/>
            <a:r>
              <a:rPr lang="en-US" smtClean="0"/>
              <a:t>Edit Master text styles</a:t>
            </a:r>
          </a:p>
          <a:p>
            <a:pPr lvl="1"/>
            <a:r>
              <a:rPr lang="en-US" smtClean="0"/>
              <a:t>Second level</a:t>
            </a:r>
          </a:p>
          <a:p>
            <a:pPr lvl="2"/>
            <a:r>
              <a:rPr lang="en-US" smtClean="0"/>
              <a:t>Third level</a:t>
            </a:r>
          </a:p>
        </p:txBody>
      </p:sp>
      <p:sp>
        <p:nvSpPr>
          <p:cNvPr id="22" name="Text Placeholder 3">
            <a:extLst>
              <a:ext uri="{FF2B5EF4-FFF2-40B4-BE49-F238E27FC236}">
                <a16:creationId xmlns:a16="http://schemas.microsoft.com/office/drawing/2014/main" id="{A9C0AEB2-29EF-7A4A-9D9F-717BFB9D7E58}"/>
              </a:ext>
            </a:extLst>
          </p:cNvPr>
          <p:cNvSpPr>
            <a:spLocks noGrp="1"/>
          </p:cNvSpPr>
          <p:nvPr>
            <p:ph type="body" sz="half" idx="13" hasCustomPrompt="1"/>
          </p:nvPr>
        </p:nvSpPr>
        <p:spPr>
          <a:xfrm>
            <a:off x="6210301" y="6388100"/>
            <a:ext cx="4546599" cy="247650"/>
          </a:xfrm>
        </p:spPr>
        <p:txBody>
          <a:bodyPr anchor="b"/>
          <a:lstStyle>
            <a:lvl1pPr marL="0" indent="0" algn="r">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a footnote</a:t>
            </a:r>
          </a:p>
        </p:txBody>
      </p:sp>
      <p:sp>
        <p:nvSpPr>
          <p:cNvPr id="11" name="Title 1">
            <a:extLst>
              <a:ext uri="{FF2B5EF4-FFF2-40B4-BE49-F238E27FC236}">
                <a16:creationId xmlns:a16="http://schemas.microsoft.com/office/drawing/2014/main" id="{83CB1B1D-63D8-624F-8FE2-BACDF39AFA38}"/>
              </a:ext>
            </a:extLst>
          </p:cNvPr>
          <p:cNvSpPr>
            <a:spLocks noGrp="1"/>
          </p:cNvSpPr>
          <p:nvPr>
            <p:ph type="title" hasCustomPrompt="1"/>
          </p:nvPr>
        </p:nvSpPr>
        <p:spPr>
          <a:xfrm>
            <a:off x="457200" y="355601"/>
            <a:ext cx="11252199" cy="495299"/>
          </a:xfrm>
        </p:spPr>
        <p:txBody>
          <a:bodyPr vert="horz"/>
          <a:lstStyle/>
          <a:p>
            <a:r>
              <a:rPr lang="en-US" dirty="0"/>
              <a:t>Click to add title</a:t>
            </a:r>
          </a:p>
        </p:txBody>
      </p:sp>
      <p:sp>
        <p:nvSpPr>
          <p:cNvPr id="12" name="Text Placeholder 3">
            <a:extLst>
              <a:ext uri="{FF2B5EF4-FFF2-40B4-BE49-F238E27FC236}">
                <a16:creationId xmlns:a16="http://schemas.microsoft.com/office/drawing/2014/main" id="{93192BB1-48EF-E34D-A18B-088C2525C8DE}"/>
              </a:ext>
            </a:extLst>
          </p:cNvPr>
          <p:cNvSpPr>
            <a:spLocks noGrp="1"/>
          </p:cNvSpPr>
          <p:nvPr>
            <p:ph type="body" sz="half" idx="14"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Click to add optional subtitle – remove if not needed</a:t>
            </a:r>
            <a:endParaRPr lang="en-US" dirty="0"/>
          </a:p>
        </p:txBody>
      </p:sp>
    </p:spTree>
    <p:extLst>
      <p:ext uri="{BB962C8B-B14F-4D97-AF65-F5344CB8AC3E}">
        <p14:creationId xmlns:p14="http://schemas.microsoft.com/office/powerpoint/2010/main" val="365934816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Six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2"/>
            </p:custDataLst>
            <p:extLst>
              <p:ext uri="{D42A27DB-BD31-4B8C-83A1-F6EECF244321}">
                <p14:modId xmlns:p14="http://schemas.microsoft.com/office/powerpoint/2010/main" val="150205743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9511"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sz="half" idx="1"/>
          </p:nvPr>
        </p:nvSpPr>
        <p:spPr>
          <a:xfrm>
            <a:off x="485775" y="1616075"/>
            <a:ext cx="1664208" cy="4505326"/>
          </a:xfrm>
        </p:spPr>
        <p:txBody>
          <a:bodyPr/>
          <a:lstStyle>
            <a:lvl1pPr>
              <a:spcBef>
                <a:spcPts val="600"/>
              </a:spcBef>
              <a:defRPr sz="1200"/>
            </a:lvl1pPr>
            <a:lvl2pPr>
              <a:spcBef>
                <a:spcPts val="600"/>
              </a:spcBef>
              <a:defRPr sz="1200"/>
            </a:lvl2pPr>
            <a:lvl3pPr>
              <a:spcBef>
                <a:spcPts val="600"/>
              </a:spcBef>
              <a:defRPr sz="1200"/>
            </a:lvl3pPr>
            <a:lvl4pPr>
              <a:defRPr sz="1200"/>
            </a:lvl4pPr>
            <a:lvl5pPr>
              <a:defRPr sz="1200"/>
            </a:lvl5pPr>
            <a:lvl6pPr>
              <a:defRPr sz="1800"/>
            </a:lvl6pPr>
            <a:lvl7pPr>
              <a:defRPr sz="1800"/>
            </a:lvl7pPr>
            <a:lvl8pPr>
              <a:defRPr sz="1800"/>
            </a:lvl8pPr>
            <a:lvl9pPr>
              <a:defRPr sz="1800"/>
            </a:lvl9pPr>
          </a:lstStyle>
          <a:p>
            <a:pPr lvl="0"/>
            <a:r>
              <a:rPr lang="en-US" smtClean="0"/>
              <a:t>Edit Master text styles</a:t>
            </a:r>
          </a:p>
          <a:p>
            <a:pPr lvl="1"/>
            <a:r>
              <a:rPr lang="en-US" smtClean="0"/>
              <a:t>Second level</a:t>
            </a:r>
          </a:p>
          <a:p>
            <a:pPr lvl="2"/>
            <a:r>
              <a:rPr lang="en-US" smtClean="0"/>
              <a:t>Third level</a:t>
            </a:r>
          </a:p>
        </p:txBody>
      </p:sp>
      <p:sp>
        <p:nvSpPr>
          <p:cNvPr id="4" name="Content Placeholder 3"/>
          <p:cNvSpPr>
            <a:spLocks noGrp="1"/>
          </p:cNvSpPr>
          <p:nvPr>
            <p:ph sz="half" idx="2"/>
          </p:nvPr>
        </p:nvSpPr>
        <p:spPr>
          <a:xfrm>
            <a:off x="2397760" y="1616075"/>
            <a:ext cx="1664208" cy="4505326"/>
          </a:xfrm>
        </p:spPr>
        <p:txBody>
          <a:bodyPr/>
          <a:lstStyle>
            <a:lvl1pPr>
              <a:spcBef>
                <a:spcPts val="600"/>
              </a:spcBef>
              <a:defRPr sz="1200"/>
            </a:lvl1pPr>
            <a:lvl2pPr>
              <a:spcBef>
                <a:spcPts val="600"/>
              </a:spcBef>
              <a:defRPr sz="1200"/>
            </a:lvl2pPr>
            <a:lvl3pPr>
              <a:spcBef>
                <a:spcPts val="600"/>
              </a:spcBef>
              <a:defRPr sz="1200"/>
            </a:lvl3pPr>
            <a:lvl4pPr>
              <a:defRPr sz="1200"/>
            </a:lvl4pPr>
            <a:lvl5pPr>
              <a:defRPr sz="1200"/>
            </a:lvl5pPr>
            <a:lvl6pPr>
              <a:defRPr sz="1800"/>
            </a:lvl6pPr>
            <a:lvl7pPr>
              <a:defRPr sz="1800"/>
            </a:lvl7pPr>
            <a:lvl8pPr>
              <a:defRPr sz="1800"/>
            </a:lvl8pPr>
            <a:lvl9pPr>
              <a:defRPr sz="1800"/>
            </a:lvl9pPr>
          </a:lstStyle>
          <a:p>
            <a:pPr lvl="0"/>
            <a:r>
              <a:rPr lang="en-US" smtClean="0"/>
              <a:t>Edit Master text styles</a:t>
            </a:r>
          </a:p>
          <a:p>
            <a:pPr lvl="1"/>
            <a:r>
              <a:rPr lang="en-US" smtClean="0"/>
              <a:t>Second level</a:t>
            </a:r>
          </a:p>
          <a:p>
            <a:pPr lvl="2"/>
            <a:r>
              <a:rPr lang="en-US" smtClean="0"/>
              <a:t>Third level</a:t>
            </a:r>
          </a:p>
        </p:txBody>
      </p:sp>
      <p:sp>
        <p:nvSpPr>
          <p:cNvPr id="8" name="Content Placeholder 3">
            <a:extLst>
              <a:ext uri="{FF2B5EF4-FFF2-40B4-BE49-F238E27FC236}">
                <a16:creationId xmlns:a16="http://schemas.microsoft.com/office/drawing/2014/main" id="{04B5F84D-BA5B-A945-9914-2C68E13D2B66}"/>
              </a:ext>
            </a:extLst>
          </p:cNvPr>
          <p:cNvSpPr>
            <a:spLocks noGrp="1"/>
          </p:cNvSpPr>
          <p:nvPr>
            <p:ph sz="half" idx="11"/>
          </p:nvPr>
        </p:nvSpPr>
        <p:spPr>
          <a:xfrm>
            <a:off x="6221730" y="1616075"/>
            <a:ext cx="1664208" cy="4505326"/>
          </a:xfrm>
        </p:spPr>
        <p:txBody>
          <a:bodyPr/>
          <a:lstStyle>
            <a:lvl1pPr>
              <a:spcBef>
                <a:spcPts val="600"/>
              </a:spcBef>
              <a:defRPr sz="1200"/>
            </a:lvl1pPr>
            <a:lvl2pPr>
              <a:spcBef>
                <a:spcPts val="600"/>
              </a:spcBef>
              <a:defRPr sz="1200"/>
            </a:lvl2pPr>
            <a:lvl3pPr>
              <a:spcBef>
                <a:spcPts val="600"/>
              </a:spcBef>
              <a:defRPr sz="1200"/>
            </a:lvl3pPr>
            <a:lvl4pPr>
              <a:defRPr sz="1200"/>
            </a:lvl4pPr>
            <a:lvl5pPr>
              <a:defRPr sz="1200"/>
            </a:lvl5pPr>
            <a:lvl6pPr>
              <a:defRPr sz="1800"/>
            </a:lvl6pPr>
            <a:lvl7pPr>
              <a:defRPr sz="1800"/>
            </a:lvl7pPr>
            <a:lvl8pPr>
              <a:defRPr sz="1800"/>
            </a:lvl8pPr>
            <a:lvl9pPr>
              <a:defRPr sz="1800"/>
            </a:lvl9pPr>
          </a:lstStyle>
          <a:p>
            <a:pPr lvl="0"/>
            <a:r>
              <a:rPr lang="en-US" smtClean="0"/>
              <a:t>Edit Master text styles</a:t>
            </a:r>
          </a:p>
          <a:p>
            <a:pPr lvl="1"/>
            <a:r>
              <a:rPr lang="en-US" smtClean="0"/>
              <a:t>Second level</a:t>
            </a:r>
          </a:p>
          <a:p>
            <a:pPr lvl="2"/>
            <a:r>
              <a:rPr lang="en-US" smtClean="0"/>
              <a:t>Third level</a:t>
            </a:r>
          </a:p>
        </p:txBody>
      </p:sp>
      <p:sp>
        <p:nvSpPr>
          <p:cNvPr id="9" name="Content Placeholder 3">
            <a:extLst>
              <a:ext uri="{FF2B5EF4-FFF2-40B4-BE49-F238E27FC236}">
                <a16:creationId xmlns:a16="http://schemas.microsoft.com/office/drawing/2014/main" id="{90CFE4A1-AAEA-9742-8946-359C3F5D0A1A}"/>
              </a:ext>
            </a:extLst>
          </p:cNvPr>
          <p:cNvSpPr>
            <a:spLocks noGrp="1"/>
          </p:cNvSpPr>
          <p:nvPr>
            <p:ph sz="half" idx="12"/>
          </p:nvPr>
        </p:nvSpPr>
        <p:spPr>
          <a:xfrm>
            <a:off x="4309745" y="1616075"/>
            <a:ext cx="1664208" cy="4505326"/>
          </a:xfrm>
        </p:spPr>
        <p:txBody>
          <a:bodyPr/>
          <a:lstStyle>
            <a:lvl1pPr>
              <a:spcBef>
                <a:spcPts val="600"/>
              </a:spcBef>
              <a:defRPr sz="1200"/>
            </a:lvl1pPr>
            <a:lvl2pPr>
              <a:spcBef>
                <a:spcPts val="600"/>
              </a:spcBef>
              <a:defRPr sz="1200"/>
            </a:lvl2pPr>
            <a:lvl3pPr>
              <a:spcBef>
                <a:spcPts val="600"/>
              </a:spcBef>
              <a:defRPr sz="1200"/>
            </a:lvl3pPr>
            <a:lvl4pPr>
              <a:defRPr sz="1200"/>
            </a:lvl4pPr>
            <a:lvl5pPr>
              <a:defRPr sz="1200"/>
            </a:lvl5pPr>
            <a:lvl6pPr>
              <a:defRPr sz="1800"/>
            </a:lvl6pPr>
            <a:lvl7pPr>
              <a:defRPr sz="1800"/>
            </a:lvl7pPr>
            <a:lvl8pPr>
              <a:defRPr sz="1800"/>
            </a:lvl8pPr>
            <a:lvl9pPr>
              <a:defRPr sz="1800"/>
            </a:lvl9pPr>
          </a:lstStyle>
          <a:p>
            <a:pPr lvl="0"/>
            <a:r>
              <a:rPr lang="en-US" smtClean="0"/>
              <a:t>Edit Master text styles</a:t>
            </a:r>
          </a:p>
          <a:p>
            <a:pPr lvl="1"/>
            <a:r>
              <a:rPr lang="en-US" smtClean="0"/>
              <a:t>Second level</a:t>
            </a:r>
          </a:p>
          <a:p>
            <a:pPr lvl="2"/>
            <a:r>
              <a:rPr lang="en-US" smtClean="0"/>
              <a:t>Third level</a:t>
            </a:r>
          </a:p>
        </p:txBody>
      </p:sp>
      <p:sp>
        <p:nvSpPr>
          <p:cNvPr id="10" name="Content Placeholder 3">
            <a:extLst>
              <a:ext uri="{FF2B5EF4-FFF2-40B4-BE49-F238E27FC236}">
                <a16:creationId xmlns:a16="http://schemas.microsoft.com/office/drawing/2014/main" id="{B60CBF3D-4AE0-E04C-A0D8-C2B53DF312B4}"/>
              </a:ext>
            </a:extLst>
          </p:cNvPr>
          <p:cNvSpPr>
            <a:spLocks noGrp="1"/>
          </p:cNvSpPr>
          <p:nvPr>
            <p:ph sz="half" idx="13"/>
          </p:nvPr>
        </p:nvSpPr>
        <p:spPr>
          <a:xfrm>
            <a:off x="8133715" y="1616075"/>
            <a:ext cx="1664208" cy="4505326"/>
          </a:xfrm>
        </p:spPr>
        <p:txBody>
          <a:bodyPr/>
          <a:lstStyle>
            <a:lvl1pPr>
              <a:spcBef>
                <a:spcPts val="600"/>
              </a:spcBef>
              <a:defRPr sz="1200"/>
            </a:lvl1pPr>
            <a:lvl2pPr>
              <a:spcBef>
                <a:spcPts val="600"/>
              </a:spcBef>
              <a:defRPr sz="1200"/>
            </a:lvl2pPr>
            <a:lvl3pPr>
              <a:spcBef>
                <a:spcPts val="600"/>
              </a:spcBef>
              <a:defRPr sz="1200"/>
            </a:lvl3pPr>
            <a:lvl4pPr>
              <a:defRPr sz="1200"/>
            </a:lvl4pPr>
            <a:lvl5pPr>
              <a:defRPr sz="1200"/>
            </a:lvl5pPr>
            <a:lvl6pPr>
              <a:defRPr sz="1800"/>
            </a:lvl6pPr>
            <a:lvl7pPr>
              <a:defRPr sz="1800"/>
            </a:lvl7pPr>
            <a:lvl8pPr>
              <a:defRPr sz="1800"/>
            </a:lvl8pPr>
            <a:lvl9pPr>
              <a:defRPr sz="1800"/>
            </a:lvl9pPr>
          </a:lstStyle>
          <a:p>
            <a:pPr lvl="0"/>
            <a:r>
              <a:rPr lang="en-US" smtClean="0"/>
              <a:t>Edit Master text styles</a:t>
            </a:r>
          </a:p>
          <a:p>
            <a:pPr lvl="1"/>
            <a:r>
              <a:rPr lang="en-US" smtClean="0"/>
              <a:t>Second level</a:t>
            </a:r>
          </a:p>
          <a:p>
            <a:pPr lvl="2"/>
            <a:r>
              <a:rPr lang="en-US" smtClean="0"/>
              <a:t>Third level</a:t>
            </a:r>
          </a:p>
        </p:txBody>
      </p:sp>
      <p:sp>
        <p:nvSpPr>
          <p:cNvPr id="11" name="Content Placeholder 3">
            <a:extLst>
              <a:ext uri="{FF2B5EF4-FFF2-40B4-BE49-F238E27FC236}">
                <a16:creationId xmlns:a16="http://schemas.microsoft.com/office/drawing/2014/main" id="{D441AD0A-E6DF-5847-BEB4-907DA9B01661}"/>
              </a:ext>
            </a:extLst>
          </p:cNvPr>
          <p:cNvSpPr>
            <a:spLocks noGrp="1"/>
          </p:cNvSpPr>
          <p:nvPr>
            <p:ph sz="half" idx="14"/>
          </p:nvPr>
        </p:nvSpPr>
        <p:spPr>
          <a:xfrm>
            <a:off x="10045698" y="1616075"/>
            <a:ext cx="1664208" cy="4505326"/>
          </a:xfrm>
        </p:spPr>
        <p:txBody>
          <a:bodyPr/>
          <a:lstStyle>
            <a:lvl1pPr>
              <a:spcBef>
                <a:spcPts val="600"/>
              </a:spcBef>
              <a:defRPr sz="1200"/>
            </a:lvl1pPr>
            <a:lvl2pPr>
              <a:spcBef>
                <a:spcPts val="600"/>
              </a:spcBef>
              <a:defRPr sz="1200"/>
            </a:lvl2pPr>
            <a:lvl3pPr>
              <a:spcBef>
                <a:spcPts val="600"/>
              </a:spcBef>
              <a:defRPr sz="1200"/>
            </a:lvl3pPr>
            <a:lvl4pPr>
              <a:defRPr sz="1200"/>
            </a:lvl4pPr>
            <a:lvl5pPr>
              <a:defRPr sz="1200"/>
            </a:lvl5pPr>
            <a:lvl6pPr>
              <a:defRPr sz="1800"/>
            </a:lvl6pPr>
            <a:lvl7pPr>
              <a:defRPr sz="1800"/>
            </a:lvl7pPr>
            <a:lvl8pPr>
              <a:defRPr sz="1800"/>
            </a:lvl8pPr>
            <a:lvl9pPr>
              <a:defRPr sz="1800"/>
            </a:lvl9pPr>
          </a:lstStyle>
          <a:p>
            <a:pPr lvl="0"/>
            <a:r>
              <a:rPr lang="en-US" smtClean="0"/>
              <a:t>Edit Master text styles</a:t>
            </a:r>
          </a:p>
          <a:p>
            <a:pPr lvl="1"/>
            <a:r>
              <a:rPr lang="en-US" smtClean="0"/>
              <a:t>Second level</a:t>
            </a:r>
          </a:p>
          <a:p>
            <a:pPr lvl="2"/>
            <a:r>
              <a:rPr lang="en-US" smtClean="0"/>
              <a:t>Third level</a:t>
            </a:r>
          </a:p>
        </p:txBody>
      </p:sp>
      <p:sp>
        <p:nvSpPr>
          <p:cNvPr id="12" name="Text Placeholder 3">
            <a:extLst>
              <a:ext uri="{FF2B5EF4-FFF2-40B4-BE49-F238E27FC236}">
                <a16:creationId xmlns:a16="http://schemas.microsoft.com/office/drawing/2014/main" id="{775FE915-A989-2C4F-B5CF-8C03CD0485CB}"/>
              </a:ext>
            </a:extLst>
          </p:cNvPr>
          <p:cNvSpPr>
            <a:spLocks noGrp="1"/>
          </p:cNvSpPr>
          <p:nvPr>
            <p:ph type="body" sz="half" idx="15" hasCustomPrompt="1"/>
          </p:nvPr>
        </p:nvSpPr>
        <p:spPr>
          <a:xfrm>
            <a:off x="6221731" y="6388100"/>
            <a:ext cx="4535170" cy="247650"/>
          </a:xfrm>
        </p:spPr>
        <p:txBody>
          <a:bodyPr anchor="b"/>
          <a:lstStyle>
            <a:lvl1pPr marL="0" indent="0" algn="r">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a footnote</a:t>
            </a:r>
          </a:p>
        </p:txBody>
      </p:sp>
      <p:sp>
        <p:nvSpPr>
          <p:cNvPr id="14" name="Title 1">
            <a:extLst>
              <a:ext uri="{FF2B5EF4-FFF2-40B4-BE49-F238E27FC236}">
                <a16:creationId xmlns:a16="http://schemas.microsoft.com/office/drawing/2014/main" id="{ABCBBFA3-BF99-FC46-8DCA-D9D911944ABD}"/>
              </a:ext>
            </a:extLst>
          </p:cNvPr>
          <p:cNvSpPr>
            <a:spLocks noGrp="1"/>
          </p:cNvSpPr>
          <p:nvPr>
            <p:ph type="title" hasCustomPrompt="1"/>
          </p:nvPr>
        </p:nvSpPr>
        <p:spPr>
          <a:xfrm>
            <a:off x="457200" y="355601"/>
            <a:ext cx="11252199" cy="495299"/>
          </a:xfrm>
        </p:spPr>
        <p:txBody>
          <a:bodyPr vert="horz"/>
          <a:lstStyle/>
          <a:p>
            <a:r>
              <a:rPr lang="en-US" dirty="0"/>
              <a:t>Click to add title</a:t>
            </a:r>
          </a:p>
        </p:txBody>
      </p:sp>
      <p:sp>
        <p:nvSpPr>
          <p:cNvPr id="15" name="Text Placeholder 3">
            <a:extLst>
              <a:ext uri="{FF2B5EF4-FFF2-40B4-BE49-F238E27FC236}">
                <a16:creationId xmlns:a16="http://schemas.microsoft.com/office/drawing/2014/main" id="{B46280AB-2B05-3446-8F2E-AD2C0974CB6E}"/>
              </a:ext>
            </a:extLst>
          </p:cNvPr>
          <p:cNvSpPr>
            <a:spLocks noGrp="1"/>
          </p:cNvSpPr>
          <p:nvPr>
            <p:ph type="body" sz="half" idx="16"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Click to add optional subtitle – remove if not needed</a:t>
            </a:r>
            <a:endParaRPr lang="en-US" dirty="0"/>
          </a:p>
        </p:txBody>
      </p:sp>
    </p:spTree>
    <p:extLst>
      <p:ext uri="{BB962C8B-B14F-4D97-AF65-F5344CB8AC3E}">
        <p14:creationId xmlns:p14="http://schemas.microsoft.com/office/powerpoint/2010/main" val="3551426803"/>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image" Target="../media/image2.png"/><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609EAE9-575C-BC49-807B-2EA04A66243B}"/>
              </a:ext>
            </a:extLst>
          </p:cNvPr>
          <p:cNvGraphicFramePr>
            <a:graphicFrameLocks noChangeAspect="1"/>
          </p:cNvGraphicFramePr>
          <p:nvPr>
            <p:custDataLst>
              <p:tags r:id="rId61"/>
            </p:custDataLst>
            <p:extLst>
              <p:ext uri="{D42A27DB-BD31-4B8C-83A1-F6EECF244321}">
                <p14:modId xmlns:p14="http://schemas.microsoft.com/office/powerpoint/2010/main" val="19840748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323" name="think-cell Slide" r:id="rId62" imgW="7772400" imgH="10058400" progId="TCLayout.ActiveDocument.1">
                  <p:embed/>
                </p:oleObj>
              </mc:Choice>
              <mc:Fallback>
                <p:oleObj name="think-cell Slide" r:id="rId62" imgW="7772400" imgH="10058400" progId="TCLayout.ActiveDocument.1">
                  <p:embed/>
                  <p:pic>
                    <p:nvPicPr>
                      <p:cNvPr id="8" name="Object 7" hidden="1">
                        <a:extLst>
                          <a:ext uri="{FF2B5EF4-FFF2-40B4-BE49-F238E27FC236}">
                            <a16:creationId xmlns:a16="http://schemas.microsoft.com/office/drawing/2014/main" id="{0609EAE9-575C-BC49-807B-2EA04A66243B}"/>
                          </a:ext>
                        </a:extLst>
                      </p:cNvPr>
                      <p:cNvPicPr/>
                      <p:nvPr/>
                    </p:nvPicPr>
                    <p:blipFill>
                      <a:blip r:embed="rId63"/>
                      <a:stretch>
                        <a:fillRect/>
                      </a:stretch>
                    </p:blipFill>
                    <p:spPr>
                      <a:xfrm>
                        <a:off x="1588" y="1588"/>
                        <a:ext cx="1227" cy="1588"/>
                      </a:xfrm>
                      <a:prstGeom prst="rect">
                        <a:avLst/>
                      </a:prstGeom>
                    </p:spPr>
                  </p:pic>
                </p:oleObj>
              </mc:Fallback>
            </mc:AlternateContent>
          </a:graphicData>
        </a:graphic>
      </p:graphicFrame>
      <p:sp>
        <p:nvSpPr>
          <p:cNvPr id="2" name="Title Placeholder 1"/>
          <p:cNvSpPr>
            <a:spLocks noGrp="1"/>
          </p:cNvSpPr>
          <p:nvPr>
            <p:ph type="title"/>
          </p:nvPr>
        </p:nvSpPr>
        <p:spPr>
          <a:xfrm>
            <a:off x="458217" y="355601"/>
            <a:ext cx="11223624" cy="495299"/>
          </a:xfrm>
          <a:prstGeom prst="rect">
            <a:avLst/>
          </a:prstGeom>
        </p:spPr>
        <p:txBody>
          <a:bodyPr vert="horz" lIns="0" tIns="0" rIns="0" bIns="0" rtlCol="0" anchor="t">
            <a:noAutofit/>
          </a:bodyPr>
          <a:lstStyle/>
          <a:p>
            <a:r>
              <a:rPr lang="en-US" smtClean="0"/>
              <a:t>Click to edit Master title style</a:t>
            </a:r>
            <a:endParaRPr lang="en-US" dirty="0"/>
          </a:p>
        </p:txBody>
      </p:sp>
      <p:sp>
        <p:nvSpPr>
          <p:cNvPr id="3" name="Text Placeholder 2"/>
          <p:cNvSpPr>
            <a:spLocks noGrp="1"/>
          </p:cNvSpPr>
          <p:nvPr>
            <p:ph type="body" idx="1"/>
          </p:nvPr>
        </p:nvSpPr>
        <p:spPr>
          <a:xfrm>
            <a:off x="485776" y="1609725"/>
            <a:ext cx="11223624" cy="4514302"/>
          </a:xfrm>
          <a:prstGeom prst="rect">
            <a:avLst/>
          </a:prstGeom>
        </p:spPr>
        <p:txBody>
          <a:bodyPr vert="horz" lIns="0" tIns="0" rIns="0" bIns="0" rtlCol="0" anchor="t">
            <a:noAutofit/>
          </a:bodyPr>
          <a:lstStyle/>
          <a:p>
            <a:pPr lvl="0"/>
            <a:r>
              <a:rPr lang="en-US" dirty="0"/>
              <a:t>Click to edit Master text styles</a:t>
            </a:r>
          </a:p>
          <a:p>
            <a:pPr lvl="1"/>
            <a:r>
              <a:rPr lang="en-US" dirty="0"/>
              <a:t>First-level bullet</a:t>
            </a:r>
          </a:p>
          <a:p>
            <a:pPr lvl="2"/>
            <a:r>
              <a:rPr lang="en-US" dirty="0"/>
              <a:t>Second-level bullet</a:t>
            </a:r>
          </a:p>
          <a:p>
            <a:pPr lvl="3"/>
            <a:r>
              <a:rPr lang="en-US" dirty="0"/>
              <a:t>Third-level bullet</a:t>
            </a:r>
          </a:p>
          <a:p>
            <a:pPr lvl="4"/>
            <a:r>
              <a:rPr lang="en-US" dirty="0"/>
              <a:t>Fourth-level bullet</a:t>
            </a:r>
          </a:p>
          <a:p>
            <a:pPr lvl="5"/>
            <a:r>
              <a:rPr lang="en-US" dirty="0"/>
              <a:t>Fifth-level bullet</a:t>
            </a:r>
          </a:p>
          <a:p>
            <a:pPr lvl="6"/>
            <a:r>
              <a:rPr lang="en-US" dirty="0"/>
              <a:t>Sixth-level bullet</a:t>
            </a:r>
          </a:p>
          <a:p>
            <a:pPr lvl="7"/>
            <a:r>
              <a:rPr lang="en-US" dirty="0"/>
              <a:t>Seventh-level bullet</a:t>
            </a:r>
          </a:p>
          <a:p>
            <a:pPr lvl="8"/>
            <a:r>
              <a:rPr lang="en-US" dirty="0"/>
              <a:t>Eighth-level bullet</a:t>
            </a:r>
          </a:p>
        </p:txBody>
      </p:sp>
      <p:sp>
        <p:nvSpPr>
          <p:cNvPr id="27" name="TextBox 26">
            <a:extLst>
              <a:ext uri="{FF2B5EF4-FFF2-40B4-BE49-F238E27FC236}">
                <a16:creationId xmlns:a16="http://schemas.microsoft.com/office/drawing/2014/main" id="{9A6A4D16-2CB5-DA4B-9931-20D3477C5477}"/>
              </a:ext>
            </a:extLst>
          </p:cNvPr>
          <p:cNvSpPr txBox="1"/>
          <p:nvPr/>
        </p:nvSpPr>
        <p:spPr>
          <a:xfrm>
            <a:off x="11430000" y="6516007"/>
            <a:ext cx="279400" cy="123111"/>
          </a:xfrm>
          <a:prstGeom prst="rect">
            <a:avLst/>
          </a:prstGeom>
          <a:noFill/>
        </p:spPr>
        <p:txBody>
          <a:bodyPr wrap="squar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B2884B6-D4BF-C444-8DD3-A349AF38F97C}" type="slidenum">
              <a:rPr lang="en-US" sz="800" kern="1200" smtClean="0">
                <a:solidFill>
                  <a:schemeClr val="tx1"/>
                </a:solidFill>
                <a:effectLst/>
                <a:latin typeface="+mn-lt"/>
                <a:ea typeface="+mn-ea"/>
                <a:cs typeface="+mn-cs"/>
              </a:rPr>
              <a:t>‹#›</a:t>
            </a:fld>
            <a:endParaRPr lang="en-US" sz="800" kern="1200" dirty="0">
              <a:solidFill>
                <a:schemeClr val="tx1"/>
              </a:solidFill>
              <a:effectLst/>
              <a:latin typeface="+mn-lt"/>
              <a:ea typeface="+mn-ea"/>
              <a:cs typeface="+mn-cs"/>
            </a:endParaRPr>
          </a:p>
        </p:txBody>
      </p:sp>
      <p:pic>
        <p:nvPicPr>
          <p:cNvPr id="9" name="Graphic 9">
            <a:extLst>
              <a:ext uri="{FF2B5EF4-FFF2-40B4-BE49-F238E27FC236}">
                <a16:creationId xmlns:a16="http://schemas.microsoft.com/office/drawing/2014/main" id="{D0BD2358-DC70-594C-AEF2-F1AF15153B94}"/>
              </a:ext>
            </a:extLst>
          </p:cNvPr>
          <p:cNvPicPr>
            <a:picLocks noChangeAspect="1"/>
          </p:cNvPicPr>
          <p:nvPr userDrawn="1"/>
        </p:nvPicPr>
        <p:blipFill>
          <a:blip r:embed="rId64">
            <a:extLst>
              <a:ext uri="{28A0092B-C50C-407E-A947-70E740481C1C}">
                <a14:useLocalDpi xmlns:a14="http://schemas.microsoft.com/office/drawing/2010/main" val="0"/>
              </a:ext>
            </a:extLst>
          </a:blip>
          <a:stretch>
            <a:fillRect/>
          </a:stretch>
        </p:blipFill>
        <p:spPr>
          <a:xfrm>
            <a:off x="467741" y="6506515"/>
            <a:ext cx="1199779" cy="145903"/>
          </a:xfrm>
          <a:prstGeom prst="rect">
            <a:avLst/>
          </a:prstGeom>
        </p:spPr>
      </p:pic>
    </p:spTree>
    <p:extLst>
      <p:ext uri="{BB962C8B-B14F-4D97-AF65-F5344CB8AC3E}">
        <p14:creationId xmlns:p14="http://schemas.microsoft.com/office/powerpoint/2010/main" val="368004763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714" r:id="rId3"/>
    <p:sldLayoutId id="2147483663" r:id="rId4"/>
    <p:sldLayoutId id="2147483664" r:id="rId5"/>
    <p:sldLayoutId id="2147483665" r:id="rId6"/>
    <p:sldLayoutId id="2147483666" r:id="rId7"/>
    <p:sldLayoutId id="2147483667" r:id="rId8"/>
    <p:sldLayoutId id="2147483668" r:id="rId9"/>
    <p:sldLayoutId id="2147483669" r:id="rId10"/>
    <p:sldLayoutId id="2147483670" r:id="rId11"/>
    <p:sldLayoutId id="2147483715" r:id="rId12"/>
    <p:sldLayoutId id="2147483671" r:id="rId13"/>
    <p:sldLayoutId id="2147483672" r:id="rId14"/>
    <p:sldLayoutId id="2147483673" r:id="rId15"/>
    <p:sldLayoutId id="2147483674" r:id="rId16"/>
    <p:sldLayoutId id="2147483716" r:id="rId17"/>
    <p:sldLayoutId id="2147483675" r:id="rId18"/>
    <p:sldLayoutId id="2147483676" r:id="rId19"/>
    <p:sldLayoutId id="2147483677" r:id="rId20"/>
    <p:sldLayoutId id="2147483678" r:id="rId21"/>
    <p:sldLayoutId id="2147483679" r:id="rId22"/>
    <p:sldLayoutId id="2147483680" r:id="rId23"/>
    <p:sldLayoutId id="2147483681" r:id="rId24"/>
    <p:sldLayoutId id="2147483682" r:id="rId25"/>
    <p:sldLayoutId id="2147483683" r:id="rId26"/>
    <p:sldLayoutId id="2147483728" r:id="rId27"/>
    <p:sldLayoutId id="2147483729" r:id="rId28"/>
    <p:sldLayoutId id="2147483684" r:id="rId29"/>
    <p:sldLayoutId id="2147483685" r:id="rId30"/>
    <p:sldLayoutId id="2147483686" r:id="rId31"/>
    <p:sldLayoutId id="2147483717" r:id="rId32"/>
    <p:sldLayoutId id="2147483687" r:id="rId33"/>
    <p:sldLayoutId id="2147483688" r:id="rId34"/>
    <p:sldLayoutId id="2147483689" r:id="rId35"/>
    <p:sldLayoutId id="2147483718" r:id="rId36"/>
    <p:sldLayoutId id="2147483719" r:id="rId37"/>
    <p:sldLayoutId id="2147483720" r:id="rId38"/>
    <p:sldLayoutId id="2147483721" r:id="rId39"/>
    <p:sldLayoutId id="2147483690" r:id="rId40"/>
    <p:sldLayoutId id="2147483691" r:id="rId41"/>
    <p:sldLayoutId id="2147483722" r:id="rId42"/>
    <p:sldLayoutId id="2147483696" r:id="rId43"/>
    <p:sldLayoutId id="2147483723" r:id="rId44"/>
    <p:sldLayoutId id="2147483697" r:id="rId45"/>
    <p:sldLayoutId id="2147483698" r:id="rId46"/>
    <p:sldLayoutId id="2147483700" r:id="rId47"/>
    <p:sldLayoutId id="2147483724" r:id="rId48"/>
    <p:sldLayoutId id="2147483706" r:id="rId49"/>
    <p:sldLayoutId id="2147483725" r:id="rId50"/>
    <p:sldLayoutId id="2147483709" r:id="rId51"/>
    <p:sldLayoutId id="2147483710" r:id="rId52"/>
    <p:sldLayoutId id="2147483711" r:id="rId53"/>
    <p:sldLayoutId id="2147483726" r:id="rId54"/>
    <p:sldLayoutId id="2147483712" r:id="rId55"/>
    <p:sldLayoutId id="2147483713" r:id="rId56"/>
    <p:sldLayoutId id="2147483727" r:id="rId57"/>
    <p:sldLayoutId id="2147483732" r:id="rId58"/>
  </p:sldLayoutIdLst>
  <p:txStyles>
    <p:titleStyle>
      <a:lvl1pPr algn="l" defTabSz="457200" rtl="0" eaLnBrk="1" latinLnBrk="0" hangingPunct="1">
        <a:lnSpc>
          <a:spcPct val="80000"/>
        </a:lnSpc>
        <a:spcBef>
          <a:spcPct val="0"/>
        </a:spcBef>
        <a:buNone/>
        <a:defRPr sz="3000" b="1" kern="1200">
          <a:solidFill>
            <a:schemeClr val="tx2"/>
          </a:solidFill>
          <a:latin typeface="+mj-lt"/>
          <a:ea typeface="+mj-ea"/>
          <a:cs typeface="+mj-cs"/>
        </a:defRPr>
      </a:lvl1pPr>
    </p:titleStyle>
    <p:bodyStyle>
      <a:lvl1pPr marL="0" indent="0" algn="l" defTabSz="457200" rtl="0" eaLnBrk="1" latinLnBrk="0" hangingPunct="1">
        <a:spcBef>
          <a:spcPts val="900"/>
        </a:spcBef>
        <a:buFont typeface="Arial"/>
        <a:buNone/>
        <a:defRPr sz="1800" b="0" kern="1200">
          <a:solidFill>
            <a:schemeClr val="tx1"/>
          </a:solidFill>
          <a:latin typeface="+mn-lt"/>
          <a:ea typeface="+mn-ea"/>
          <a:cs typeface="+mn-cs"/>
        </a:defRPr>
      </a:lvl1pPr>
      <a:lvl2pPr marL="283464" indent="-283464" algn="l" defTabSz="457200" rtl="0" eaLnBrk="1" latinLnBrk="0" hangingPunct="1">
        <a:spcBef>
          <a:spcPts val="750"/>
        </a:spcBef>
        <a:buFont typeface="Arial" panose="020B0604020202020204" pitchFamily="34" charset="0"/>
        <a:buChar char="•"/>
        <a:tabLst/>
        <a:defRPr sz="1500" kern="1200">
          <a:solidFill>
            <a:schemeClr val="tx1"/>
          </a:solidFill>
          <a:latin typeface="+mn-lt"/>
          <a:ea typeface="+mn-ea"/>
          <a:cs typeface="+mn-cs"/>
        </a:defRPr>
      </a:lvl2pPr>
      <a:lvl3pPr marL="566928" indent="-283464" algn="l" defTabSz="457200" rtl="0" eaLnBrk="1" latinLnBrk="0" hangingPunct="1">
        <a:spcBef>
          <a:spcPts val="600"/>
        </a:spcBef>
        <a:buFont typeface="Arial" panose="020B0604020202020204" pitchFamily="34" charset="0"/>
        <a:buChar char="–"/>
        <a:tabLst/>
        <a:defRPr sz="1200" kern="1200">
          <a:solidFill>
            <a:schemeClr val="tx1"/>
          </a:solidFill>
          <a:latin typeface="+mn-lt"/>
          <a:ea typeface="+mn-ea"/>
          <a:cs typeface="+mn-cs"/>
        </a:defRPr>
      </a:lvl3pPr>
      <a:lvl4pPr marL="859536" indent="-283464" algn="l" defTabSz="457200" rtl="0" eaLnBrk="1" latinLnBrk="0" hangingPunct="1">
        <a:spcBef>
          <a:spcPts val="600"/>
        </a:spcBef>
        <a:buFont typeface="Arial" panose="020B0604020202020204" pitchFamily="34" charset="0"/>
        <a:buChar char="•"/>
        <a:tabLst/>
        <a:defRPr sz="1200" kern="1200">
          <a:solidFill>
            <a:schemeClr val="tx1"/>
          </a:solidFill>
          <a:latin typeface="+mn-lt"/>
          <a:ea typeface="+mn-ea"/>
          <a:cs typeface="+mn-cs"/>
        </a:defRPr>
      </a:lvl4pPr>
      <a:lvl5pPr marL="1143000" indent="-283464" algn="l" defTabSz="457200" rtl="0" eaLnBrk="1" latinLnBrk="0" hangingPunct="1">
        <a:spcBef>
          <a:spcPts val="600"/>
        </a:spcBef>
        <a:buFont typeface="Arial" panose="020B0604020202020204" pitchFamily="34" charset="0"/>
        <a:buChar char="–"/>
        <a:tabLst/>
        <a:defRPr sz="1200" kern="1200">
          <a:solidFill>
            <a:schemeClr val="tx1"/>
          </a:solidFill>
          <a:latin typeface="+mn-lt"/>
          <a:ea typeface="+mn-ea"/>
          <a:cs typeface="+mn-cs"/>
        </a:defRPr>
      </a:lvl5pPr>
      <a:lvl6pPr marL="1426464" indent="-283464" algn="l" defTabSz="457200" rtl="0" eaLnBrk="1" latinLnBrk="0" hangingPunct="1">
        <a:spcBef>
          <a:spcPts val="600"/>
        </a:spcBef>
        <a:buFont typeface="Arial"/>
        <a:buChar char="•"/>
        <a:tabLst/>
        <a:defRPr sz="1200" kern="1200">
          <a:solidFill>
            <a:schemeClr val="tx1"/>
          </a:solidFill>
          <a:latin typeface="+mn-lt"/>
          <a:ea typeface="+mn-ea"/>
          <a:cs typeface="+mn-cs"/>
        </a:defRPr>
      </a:lvl6pPr>
      <a:lvl7pPr marL="1709928" indent="-283464" algn="l" defTabSz="457200" rtl="0" eaLnBrk="1" latinLnBrk="0" hangingPunct="1">
        <a:spcBef>
          <a:spcPts val="600"/>
        </a:spcBef>
        <a:buFont typeface="System Font Regular"/>
        <a:buChar char="–"/>
        <a:tabLst/>
        <a:defRPr sz="1200" kern="1200">
          <a:solidFill>
            <a:schemeClr val="tx1"/>
          </a:solidFill>
          <a:latin typeface="+mn-lt"/>
          <a:ea typeface="+mn-ea"/>
          <a:cs typeface="+mn-cs"/>
        </a:defRPr>
      </a:lvl7pPr>
      <a:lvl8pPr marL="2002536" indent="-283464" algn="l" defTabSz="457200" rtl="0" eaLnBrk="1" latinLnBrk="0" hangingPunct="1">
        <a:spcBef>
          <a:spcPts val="600"/>
        </a:spcBef>
        <a:buFont typeface="Arial"/>
        <a:buChar char="•"/>
        <a:tabLst/>
        <a:defRPr sz="1200" kern="1200">
          <a:solidFill>
            <a:schemeClr val="tx1"/>
          </a:solidFill>
          <a:latin typeface="+mn-lt"/>
          <a:ea typeface="+mn-ea"/>
          <a:cs typeface="+mn-cs"/>
        </a:defRPr>
      </a:lvl8pPr>
      <a:lvl9pPr marL="2286000" indent="-283464" algn="l" defTabSz="457200" rtl="0" eaLnBrk="1" latinLnBrk="0" hangingPunct="1">
        <a:spcBef>
          <a:spcPts val="600"/>
        </a:spcBef>
        <a:buFont typeface="System Font Regular"/>
        <a:buChar char="–"/>
        <a:tabLst/>
        <a:defRPr sz="12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7376">
          <p15:clr>
            <a:srgbClr val="F26B43"/>
          </p15:clr>
        </p15:guide>
        <p15:guide id="2" pos="6928">
          <p15:clr>
            <a:srgbClr val="F26B43"/>
          </p15:clr>
        </p15:guide>
        <p15:guide id="3" pos="6320">
          <p15:clr>
            <a:srgbClr val="F26B43"/>
          </p15:clr>
        </p15:guide>
        <p15:guide id="4" pos="5720">
          <p15:clr>
            <a:srgbClr val="F26B43"/>
          </p15:clr>
        </p15:guide>
        <p15:guide id="5" pos="5120">
          <p15:clr>
            <a:srgbClr val="F26B43"/>
          </p15:clr>
        </p15:guide>
        <p15:guide id="6" pos="4520">
          <p15:clr>
            <a:srgbClr val="F26B43"/>
          </p15:clr>
        </p15:guide>
        <p15:guide id="7" pos="3912">
          <p15:clr>
            <a:srgbClr val="F26B43"/>
          </p15:clr>
        </p15:guide>
        <p15:guide id="8" pos="3312">
          <p15:clr>
            <a:srgbClr val="F26B43"/>
          </p15:clr>
        </p15:guide>
        <p15:guide id="9" pos="2712">
          <p15:clr>
            <a:srgbClr val="F26B43"/>
          </p15:clr>
        </p15:guide>
        <p15:guide id="10" pos="2112">
          <p15:clr>
            <a:srgbClr val="F26B43"/>
          </p15:clr>
        </p15:guide>
        <p15:guide id="11" pos="1504">
          <p15:clr>
            <a:srgbClr val="F26B43"/>
          </p15:clr>
        </p15:guide>
        <p15:guide id="13" pos="304">
          <p15:clr>
            <a:srgbClr val="F26B43"/>
          </p15:clr>
        </p15:guide>
        <p15:guide id="14" pos="6776">
          <p15:clr>
            <a:srgbClr val="F26B43"/>
          </p15:clr>
        </p15:guide>
        <p15:guide id="15" pos="6176">
          <p15:clr>
            <a:srgbClr val="F26B43"/>
          </p15:clr>
        </p15:guide>
        <p15:guide id="16" pos="5568">
          <p15:clr>
            <a:srgbClr val="F26B43"/>
          </p15:clr>
        </p15:guide>
        <p15:guide id="17" pos="4968">
          <p15:clr>
            <a:srgbClr val="F26B43"/>
          </p15:clr>
        </p15:guide>
        <p15:guide id="18" pos="4368">
          <p15:clr>
            <a:srgbClr val="F26B43"/>
          </p15:clr>
        </p15:guide>
        <p15:guide id="19" pos="3768">
          <p15:clr>
            <a:srgbClr val="F26B43"/>
          </p15:clr>
        </p15:guide>
        <p15:guide id="20" pos="3160">
          <p15:clr>
            <a:srgbClr val="F26B43"/>
          </p15:clr>
        </p15:guide>
        <p15:guide id="21" pos="2560">
          <p15:clr>
            <a:srgbClr val="F26B43"/>
          </p15:clr>
        </p15:guide>
        <p15:guide id="22" pos="1960">
          <p15:clr>
            <a:srgbClr val="F26B43"/>
          </p15:clr>
        </p15:guide>
        <p15:guide id="23" pos="1360">
          <p15:clr>
            <a:srgbClr val="F26B43"/>
          </p15:clr>
        </p15:guide>
        <p15:guide id="24" pos="752">
          <p15:clr>
            <a:srgbClr val="F26B43"/>
          </p15:clr>
        </p15:guide>
        <p15:guide id="25" pos="224">
          <p15:clr>
            <a:srgbClr val="F26B43"/>
          </p15:clr>
        </p15:guide>
        <p15:guide id="26" pos="7456">
          <p15:clr>
            <a:srgbClr val="F26B43"/>
          </p15:clr>
        </p15:guide>
        <p15:guide id="27" orient="horz" pos="4168">
          <p15:clr>
            <a:srgbClr val="F26B43"/>
          </p15:clr>
        </p15:guide>
        <p15:guide id="28" pos="888">
          <p15:clr>
            <a:srgbClr val="F26B43"/>
          </p15:clr>
        </p15:guide>
        <p15:guide id="29" orient="horz" pos="4016">
          <p15:clr>
            <a:srgbClr val="F26B43"/>
          </p15:clr>
        </p15:guide>
        <p15:guide id="30" orient="horz" pos="226">
          <p15:clr>
            <a:srgbClr val="F26B43"/>
          </p15:clr>
        </p15:guide>
        <p15:guide id="31" orient="horz" pos="540">
          <p15:clr>
            <a:srgbClr val="F26B43"/>
          </p15:clr>
        </p15:guide>
        <p15:guide id="32" orient="horz" pos="698">
          <p15:clr>
            <a:srgbClr val="F26B43"/>
          </p15:clr>
        </p15:guide>
        <p15:guide id="35" orient="horz" pos="1014">
          <p15:clr>
            <a:srgbClr val="F26B43"/>
          </p15:clr>
        </p15:guide>
        <p15:guide id="38" orient="horz" pos="3856">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58.xml"/><Relationship Id="rId2" Type="http://schemas.openxmlformats.org/officeDocument/2006/relationships/customXml" Target="../../customXml/item4.xml"/><Relationship Id="rId1" Type="http://schemas.openxmlformats.org/officeDocument/2006/relationships/customXml" Target="../../customXml/item8.xml"/><Relationship Id="rId4" Type="http://schemas.openxmlformats.org/officeDocument/2006/relationships/image" Target="../media/image20.jp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7.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9.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6.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l="-57000" r="-57000"/>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custDataLst>
              <p:custData r:id="rId1"/>
            </p:custDataLst>
          </p:nvPr>
        </p:nvSpPr>
        <p:spPr/>
        <p:txBody>
          <a:bodyPr/>
          <a:lstStyle/>
          <a:p>
            <a:r>
              <a:rPr lang="en-US" dirty="0" smtClean="0">
                <a:solidFill>
                  <a:schemeClr val="bg1"/>
                </a:solidFill>
              </a:rPr>
              <a:t>ESTADO DEL MERCADO</a:t>
            </a:r>
            <a:br>
              <a:rPr lang="en-US" dirty="0" smtClean="0">
                <a:solidFill>
                  <a:schemeClr val="bg1"/>
                </a:solidFill>
              </a:rPr>
            </a:br>
            <a:r>
              <a:rPr lang="en-US" dirty="0" smtClean="0">
                <a:solidFill>
                  <a:schemeClr val="bg1"/>
                </a:solidFill>
              </a:rPr>
              <a:t>RENOVACIONES </a:t>
            </a:r>
            <a:r>
              <a:rPr lang="en-US" dirty="0" err="1">
                <a:solidFill>
                  <a:schemeClr val="bg1"/>
                </a:solidFill>
              </a:rPr>
              <a:t>JulIO</a:t>
            </a:r>
            <a:r>
              <a:rPr lang="en-US" dirty="0">
                <a:solidFill>
                  <a:schemeClr val="bg1"/>
                </a:solidFill>
              </a:rPr>
              <a:t> 2022</a:t>
            </a:r>
            <a:r>
              <a:rPr lang="en-US" dirty="0" smtClean="0">
                <a:solidFill>
                  <a:schemeClr val="bg1"/>
                </a:solidFill>
              </a:rPr>
              <a:t/>
            </a:r>
            <a:br>
              <a:rPr lang="en-US" dirty="0" smtClean="0">
                <a:solidFill>
                  <a:schemeClr val="bg1"/>
                </a:solidFill>
              </a:rPr>
            </a:br>
            <a:endParaRPr lang="en-US" dirty="0"/>
          </a:p>
        </p:txBody>
      </p:sp>
      <p:sp>
        <p:nvSpPr>
          <p:cNvPr id="5" name="ClientLogo" hidden="1"/>
          <p:cNvSpPr/>
          <p:nvPr>
            <p:custDataLst>
              <p:custData r:id="rId2"/>
            </p:custDataLst>
          </p:nvPr>
        </p:nvSpPr>
        <p:spPr>
          <a:xfrm>
            <a:off x="8132400" y="363600"/>
            <a:ext cx="3574800" cy="496800"/>
          </a:xfrm>
          <a:prstGeom prst="rect">
            <a:avLst/>
          </a:prstGeom>
          <a:solidFill>
            <a:srgbClr val="14853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smtClean="0">
                <a:solidFill>
                  <a:schemeClr val="bg1"/>
                </a:solidFill>
              </a:rPr>
              <a:t>Placeholder for optional client logo</a:t>
            </a:r>
          </a:p>
        </p:txBody>
      </p:sp>
    </p:spTree>
    <p:extLst>
      <p:ext uri="{BB962C8B-B14F-4D97-AF65-F5344CB8AC3E}">
        <p14:creationId xmlns:p14="http://schemas.microsoft.com/office/powerpoint/2010/main" val="864181351"/>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half" idx="1"/>
          </p:nvPr>
        </p:nvSpPr>
        <p:spPr>
          <a:xfrm>
            <a:off x="485777" y="975709"/>
            <a:ext cx="11223622" cy="5341271"/>
          </a:xfrm>
        </p:spPr>
        <p:txBody>
          <a:bodyPr/>
          <a:lstStyle/>
          <a:p>
            <a:r>
              <a:rPr lang="es-CO" sz="1800" b="1" dirty="0" smtClean="0"/>
              <a:t>Enfermedades Transmisibles / Pandémicas</a:t>
            </a:r>
          </a:p>
          <a:p>
            <a:pPr marL="285750" indent="-285750">
              <a:buFont typeface="Arial" panose="020B0604020202020204" pitchFamily="34" charset="0"/>
              <a:buChar char="•"/>
            </a:pPr>
            <a:r>
              <a:rPr lang="es-CO" sz="1800" dirty="0" smtClean="0"/>
              <a:t>En </a:t>
            </a:r>
            <a:r>
              <a:rPr lang="es-CO" sz="1800" dirty="0"/>
              <a:t>general </a:t>
            </a:r>
            <a:r>
              <a:rPr lang="es-CO" sz="1800" dirty="0" smtClean="0"/>
              <a:t>no </a:t>
            </a:r>
            <a:r>
              <a:rPr lang="es-CO" sz="1800" dirty="0" smtClean="0"/>
              <a:t>hay espacio para negociación </a:t>
            </a:r>
            <a:r>
              <a:rPr lang="es-CO" sz="1800" dirty="0" smtClean="0"/>
              <a:t>por </a:t>
            </a:r>
            <a:r>
              <a:rPr lang="es-CO" sz="1800" dirty="0" smtClean="0"/>
              <a:t>el mercado</a:t>
            </a:r>
          </a:p>
          <a:p>
            <a:endParaRPr lang="es-CO" sz="1400" dirty="0" smtClean="0"/>
          </a:p>
          <a:p>
            <a:r>
              <a:rPr lang="es-CO" sz="1800" b="1" dirty="0" err="1" smtClean="0"/>
              <a:t>Cyber</a:t>
            </a:r>
            <a:endParaRPr lang="es-CO" sz="1800" b="1" dirty="0" smtClean="0"/>
          </a:p>
          <a:p>
            <a:pPr marL="285750" indent="-285750">
              <a:buFont typeface="Arial" panose="020B0604020202020204" pitchFamily="34" charset="0"/>
              <a:buChar char="•"/>
            </a:pPr>
            <a:r>
              <a:rPr lang="es-CO" sz="1800" dirty="0" smtClean="0"/>
              <a:t>Reto importante </a:t>
            </a:r>
            <a:r>
              <a:rPr lang="es-CO" sz="1800" dirty="0" smtClean="0"/>
              <a:t>en todo el mercado</a:t>
            </a:r>
            <a:endParaRPr lang="es-CO" sz="1800" dirty="0" smtClean="0"/>
          </a:p>
          <a:p>
            <a:pPr marL="285750" indent="-285750">
              <a:buFont typeface="Arial" panose="020B0604020202020204" pitchFamily="34" charset="0"/>
              <a:buChar char="•"/>
            </a:pPr>
            <a:r>
              <a:rPr lang="es-CO" sz="1800" dirty="0" smtClean="0"/>
              <a:t>Alguna flexibilidad en puntos específicos del </a:t>
            </a:r>
            <a:r>
              <a:rPr lang="es-CO" sz="1800" dirty="0" err="1" smtClean="0"/>
              <a:t>wording</a:t>
            </a:r>
            <a:r>
              <a:rPr lang="es-CO" sz="1800" dirty="0" smtClean="0"/>
              <a:t> </a:t>
            </a:r>
            <a:r>
              <a:rPr lang="es-CO" sz="1800" dirty="0" smtClean="0"/>
              <a:t>utilizado</a:t>
            </a:r>
            <a:endParaRPr lang="es-CO" sz="1800" dirty="0" smtClean="0"/>
          </a:p>
          <a:p>
            <a:pPr marL="285750" indent="-285750">
              <a:buFont typeface="Arial" panose="020B0604020202020204" pitchFamily="34" charset="0"/>
              <a:buChar char="•"/>
            </a:pPr>
            <a:endParaRPr lang="es-CO" sz="1400" dirty="0" smtClean="0"/>
          </a:p>
          <a:p>
            <a:r>
              <a:rPr lang="es-CO" sz="1800" b="1" dirty="0" smtClean="0"/>
              <a:t>SRCC</a:t>
            </a:r>
          </a:p>
          <a:p>
            <a:pPr marL="285750" indent="-285750">
              <a:buFont typeface="Arial" panose="020B0604020202020204" pitchFamily="34" charset="0"/>
              <a:buChar char="•"/>
            </a:pPr>
            <a:r>
              <a:rPr lang="es-CO" sz="1800" dirty="0" smtClean="0"/>
              <a:t>La mayoría de reaseguradores han mostrado flexibilidad; </a:t>
            </a:r>
            <a:r>
              <a:rPr lang="es-CO" sz="1800" dirty="0" smtClean="0"/>
              <a:t>algunos más </a:t>
            </a:r>
            <a:r>
              <a:rPr lang="es-CO" sz="1800" dirty="0" smtClean="0"/>
              <a:t>interesados en lograr aumentos de tasa por exposición que en limitar la capacidad</a:t>
            </a:r>
          </a:p>
          <a:p>
            <a:pPr marL="285750" indent="-285750">
              <a:buFont typeface="Arial" panose="020B0604020202020204" pitchFamily="34" charset="0"/>
              <a:buChar char="•"/>
            </a:pPr>
            <a:r>
              <a:rPr lang="es-CO" sz="1800" dirty="0" smtClean="0"/>
              <a:t>Chile </a:t>
            </a:r>
            <a:r>
              <a:rPr lang="es-CO" sz="1800" dirty="0" smtClean="0"/>
              <a:t>más </a:t>
            </a:r>
            <a:r>
              <a:rPr lang="es-CO" sz="1800" dirty="0" smtClean="0"/>
              <a:t>restrictiva que otros países</a:t>
            </a:r>
          </a:p>
          <a:p>
            <a:pPr marL="285750" indent="-285750">
              <a:buFont typeface="Arial" panose="020B0604020202020204" pitchFamily="34" charset="0"/>
              <a:buChar char="•"/>
            </a:pPr>
            <a:endParaRPr lang="es-CO" sz="1400" dirty="0" smtClean="0"/>
          </a:p>
          <a:p>
            <a:r>
              <a:rPr lang="es-CO" sz="1800" b="1" dirty="0" smtClean="0"/>
              <a:t>Interrupción de Negocio Contingente (CBI)</a:t>
            </a:r>
          </a:p>
          <a:p>
            <a:pPr marL="285750" indent="-285750">
              <a:buFont typeface="Arial" panose="020B0604020202020204" pitchFamily="34" charset="0"/>
              <a:buChar char="•"/>
            </a:pPr>
            <a:r>
              <a:rPr lang="es-CO" sz="1800" dirty="0" smtClean="0"/>
              <a:t>Algunas limitaciones de CBI relacionadas con proveedores, solo motivadas por algunos pocos mercados (</a:t>
            </a:r>
            <a:r>
              <a:rPr lang="es-CO" sz="1800" dirty="0" err="1" smtClean="0"/>
              <a:t>Munich</a:t>
            </a:r>
            <a:r>
              <a:rPr lang="es-CO" sz="1800" dirty="0" smtClean="0"/>
              <a:t> Re, Hannover Re, R+V)</a:t>
            </a:r>
          </a:p>
          <a:p>
            <a:endParaRPr lang="es-CO" sz="1800" dirty="0"/>
          </a:p>
        </p:txBody>
      </p:sp>
      <p:sp>
        <p:nvSpPr>
          <p:cNvPr id="6" name="Title 5"/>
          <p:cNvSpPr>
            <a:spLocks noGrp="1"/>
          </p:cNvSpPr>
          <p:nvPr>
            <p:ph type="title"/>
          </p:nvPr>
        </p:nvSpPr>
        <p:spPr/>
        <p:txBody>
          <a:bodyPr/>
          <a:lstStyle/>
          <a:p>
            <a:r>
              <a:rPr lang="en-US" dirty="0" err="1" smtClean="0"/>
              <a:t>Asuntos</a:t>
            </a:r>
            <a:r>
              <a:rPr lang="en-US" dirty="0" smtClean="0"/>
              <a:t> Clave </a:t>
            </a:r>
            <a:r>
              <a:rPr lang="en-US" dirty="0" err="1" smtClean="0"/>
              <a:t>en</a:t>
            </a:r>
            <a:r>
              <a:rPr lang="en-US" dirty="0" smtClean="0"/>
              <a:t> </a:t>
            </a:r>
            <a:r>
              <a:rPr lang="en-US" dirty="0" err="1" smtClean="0"/>
              <a:t>Coberturas</a:t>
            </a:r>
            <a:endParaRPr lang="en-US" dirty="0"/>
          </a:p>
        </p:txBody>
      </p:sp>
    </p:spTree>
    <p:extLst>
      <p:ext uri="{BB962C8B-B14F-4D97-AF65-F5344CB8AC3E}">
        <p14:creationId xmlns:p14="http://schemas.microsoft.com/office/powerpoint/2010/main" val="72421226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94887651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altLang="en-US" dirty="0">
                <a:cs typeface="Times New Roman" pitchFamily="18" charset="0"/>
              </a:rPr>
              <a:t>Guy Carpenter &amp; Company, LLC provides this report for general information only. The information contained herein is based on sources we believe reliable, but we do not guarantee its accuracy, and it should be understood to be general insurance/reinsurance information only. Guy Carpenter &amp; Company, LLC makes no representations or warranties, express or implied. The information is not intended to be taken as advice with respect to any individual situation and cannot be relied upon as such.  Please consult your insurance/reinsurance advisors with respect to individual coverage issues.</a:t>
            </a:r>
          </a:p>
          <a:p>
            <a:r>
              <a:rPr lang="en-US" altLang="en-US" dirty="0">
                <a:cs typeface="Times New Roman" pitchFamily="18" charset="0"/>
              </a:rPr>
              <a:t>Statements concerning tax, accounting, legal or regulatory matters should be understood to be general observations based solely on our experience as reinsurance brokers and risk consultants, and may not be relied upon as tax, accounting, legal or regulatory advice, which we are not authorized to provide. All such matters should be reviewed with your own qualified advisors in these areas.</a:t>
            </a:r>
          </a:p>
          <a:p>
            <a:r>
              <a:rPr lang="en-US" altLang="en-US" dirty="0">
                <a:cs typeface="Times New Roman" pitchFamily="18" charset="0"/>
              </a:rPr>
              <a:t>Readers are cautioned not to place undue reliance on any historical, current or forward-looking statements. Guy Carpenter &amp; Company, LLC undertakes no obligation to update or revise publicly any historical, current or forward-looking statements, whether as a result of new information, research, future events or otherwise.</a:t>
            </a:r>
          </a:p>
          <a:p>
            <a:r>
              <a:rPr lang="en-US" altLang="en-US" dirty="0">
                <a:cs typeface="Times New Roman" pitchFamily="18" charset="0"/>
              </a:rPr>
              <a:t>This document or any portion of the information it contains may not be copied or reproduced in any form without the permission of Guy Carpenter &amp; Company, LLC, except that clients of Guy Carpenter &amp; Company, LLC need not obtain such permission when using this report for their internal purposes.</a:t>
            </a:r>
          </a:p>
          <a:p>
            <a:r>
              <a:rPr lang="en-US" altLang="en-US" dirty="0">
                <a:cs typeface="Times New Roman" pitchFamily="18" charset="0"/>
              </a:rPr>
              <a:t>The trademarks and service marks contained herein are the property of their respective owners.</a:t>
            </a:r>
            <a:r>
              <a:rPr lang="en-US" altLang="en-US" dirty="0"/>
              <a:t> </a:t>
            </a:r>
          </a:p>
          <a:p>
            <a:endParaRPr lang="en-US" dirty="0"/>
          </a:p>
        </p:txBody>
      </p:sp>
    </p:spTree>
    <p:extLst>
      <p:ext uri="{BB962C8B-B14F-4D97-AF65-F5344CB8AC3E}">
        <p14:creationId xmlns:p14="http://schemas.microsoft.com/office/powerpoint/2010/main" val="26207757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s-CO" dirty="0" smtClean="0"/>
              <a:t>Factores Macro</a:t>
            </a:r>
            <a:endParaRPr lang="es-CO" dirty="0"/>
          </a:p>
        </p:txBody>
      </p:sp>
      <p:sp>
        <p:nvSpPr>
          <p:cNvPr id="12" name="Rectangle 11"/>
          <p:cNvSpPr/>
          <p:nvPr/>
        </p:nvSpPr>
        <p:spPr>
          <a:xfrm>
            <a:off x="8045756" y="1211202"/>
            <a:ext cx="3764888" cy="635302"/>
          </a:xfrm>
          <a:prstGeom prst="rect">
            <a:avLst/>
          </a:prstGeom>
        </p:spPr>
        <p:txBody>
          <a:bodyPr wrap="square" lIns="0" tIns="0" rIns="0" bIns="0" anchor="ctr">
            <a:spAutoFit/>
          </a:bodyPr>
          <a:lstStyle/>
          <a:p>
            <a:pPr algn="ctr" defTabSz="914400" fontAlgn="base">
              <a:lnSpc>
                <a:spcPct val="86000"/>
              </a:lnSpc>
              <a:spcBef>
                <a:spcPct val="0"/>
              </a:spcBef>
              <a:spcAft>
                <a:spcPct val="0"/>
              </a:spcAft>
            </a:pPr>
            <a:endParaRPr lang="en-US" sz="2400" b="1" dirty="0">
              <a:solidFill>
                <a:schemeClr val="bg1"/>
              </a:solidFill>
              <a:ea typeface="MS PGothic"/>
            </a:endParaRPr>
          </a:p>
          <a:p>
            <a:pPr algn="ctr" defTabSz="914400" fontAlgn="base">
              <a:lnSpc>
                <a:spcPct val="86000"/>
              </a:lnSpc>
              <a:spcBef>
                <a:spcPct val="0"/>
              </a:spcBef>
              <a:spcAft>
                <a:spcPct val="0"/>
              </a:spcAft>
            </a:pPr>
            <a:r>
              <a:rPr lang="en-US" sz="2400" b="1" dirty="0">
                <a:solidFill>
                  <a:schemeClr val="bg1"/>
                </a:solidFill>
                <a:ea typeface="MS PGothic"/>
              </a:rPr>
              <a:t>Drivers Of Confidence</a:t>
            </a:r>
            <a:endParaRPr lang="en-US" sz="2000" dirty="0">
              <a:solidFill>
                <a:schemeClr val="bg1"/>
              </a:solidFill>
              <a:ea typeface="MS PGothic"/>
            </a:endParaRPr>
          </a:p>
        </p:txBody>
      </p:sp>
      <p:sp>
        <p:nvSpPr>
          <p:cNvPr id="13" name="Rectangle 12"/>
          <p:cNvSpPr/>
          <p:nvPr/>
        </p:nvSpPr>
        <p:spPr>
          <a:xfrm>
            <a:off x="8045756" y="4953462"/>
            <a:ext cx="3764888" cy="635302"/>
          </a:xfrm>
          <a:prstGeom prst="rect">
            <a:avLst/>
          </a:prstGeom>
        </p:spPr>
        <p:txBody>
          <a:bodyPr wrap="square" lIns="0" tIns="0" rIns="0" bIns="0" anchor="ctr">
            <a:spAutoFit/>
          </a:bodyPr>
          <a:lstStyle/>
          <a:p>
            <a:pPr algn="ctr" defTabSz="914400" fontAlgn="base">
              <a:lnSpc>
                <a:spcPct val="86000"/>
              </a:lnSpc>
              <a:spcBef>
                <a:spcPct val="0"/>
              </a:spcBef>
              <a:spcAft>
                <a:spcPct val="0"/>
              </a:spcAft>
            </a:pPr>
            <a:endParaRPr lang="en-US" sz="2400" b="1" dirty="0">
              <a:solidFill>
                <a:schemeClr val="bg1"/>
              </a:solidFill>
              <a:ea typeface="MS PGothic"/>
            </a:endParaRPr>
          </a:p>
          <a:p>
            <a:pPr algn="ctr" defTabSz="914400" fontAlgn="base">
              <a:lnSpc>
                <a:spcPct val="86000"/>
              </a:lnSpc>
              <a:spcBef>
                <a:spcPct val="0"/>
              </a:spcBef>
              <a:spcAft>
                <a:spcPct val="0"/>
              </a:spcAft>
            </a:pPr>
            <a:r>
              <a:rPr lang="en-US" sz="2400" b="1" dirty="0">
                <a:solidFill>
                  <a:schemeClr val="bg1"/>
                </a:solidFill>
                <a:ea typeface="MS PGothic"/>
              </a:rPr>
              <a:t>Drivers of Uncertainty</a:t>
            </a:r>
          </a:p>
        </p:txBody>
      </p:sp>
      <p:sp>
        <p:nvSpPr>
          <p:cNvPr id="15" name="TextBox 14">
            <a:extLst>
              <a:ext uri="{FF2B5EF4-FFF2-40B4-BE49-F238E27FC236}">
                <a16:creationId xmlns:a16="http://schemas.microsoft.com/office/drawing/2014/main" id="{9A6A4D16-2CB5-DA4B-9931-20D3477C5477}"/>
              </a:ext>
            </a:extLst>
          </p:cNvPr>
          <p:cNvSpPr txBox="1"/>
          <p:nvPr/>
        </p:nvSpPr>
        <p:spPr>
          <a:xfrm>
            <a:off x="11430000" y="6516007"/>
            <a:ext cx="279400" cy="123111"/>
          </a:xfrm>
          <a:prstGeom prst="rect">
            <a:avLst/>
          </a:prstGeom>
          <a:noFill/>
        </p:spPr>
        <p:txBody>
          <a:bodyPr wrap="squar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B2884B6-D4BF-C444-8DD3-A349AF38F97C}" type="slidenum">
              <a:rPr lang="en-US" sz="800" kern="1200" smtClean="0">
                <a:solidFill>
                  <a:schemeClr val="tx1"/>
                </a:solidFill>
                <a:effectLst/>
                <a:latin typeface="+mn-lt"/>
                <a:ea typeface="+mn-ea"/>
                <a:cs typeface="+mn-cs"/>
              </a:rPr>
              <a:t>2</a:t>
            </a:fld>
            <a:endParaRPr lang="en-US" sz="800" kern="1200" dirty="0">
              <a:solidFill>
                <a:schemeClr val="tx1"/>
              </a:solidFill>
              <a:effectLst/>
              <a:latin typeface="+mn-lt"/>
              <a:ea typeface="+mn-ea"/>
              <a:cs typeface="+mn-cs"/>
            </a:endParaRPr>
          </a:p>
        </p:txBody>
      </p:sp>
      <p:sp>
        <p:nvSpPr>
          <p:cNvPr id="3" name="Content Placeholder 2"/>
          <p:cNvSpPr>
            <a:spLocks noGrp="1"/>
          </p:cNvSpPr>
          <p:nvPr>
            <p:ph sz="quarter" idx="11"/>
          </p:nvPr>
        </p:nvSpPr>
        <p:spPr>
          <a:xfrm>
            <a:off x="309597" y="1319842"/>
            <a:ext cx="11252483" cy="1885540"/>
          </a:xfrm>
        </p:spPr>
        <p:txBody>
          <a:bodyPr/>
          <a:lstStyle/>
          <a:p>
            <a:r>
              <a:rPr lang="es-CO" sz="1600" b="1" u="sng" dirty="0" smtClean="0">
                <a:solidFill>
                  <a:schemeClr val="accent3">
                    <a:lumMod val="75000"/>
                  </a:schemeClr>
                </a:solidFill>
              </a:rPr>
              <a:t>Confianza</a:t>
            </a:r>
          </a:p>
          <a:p>
            <a:pPr marL="285750" indent="-285750">
              <a:buFont typeface="Arial" panose="020B0604020202020204" pitchFamily="34" charset="0"/>
              <a:buChar char="•"/>
            </a:pPr>
            <a:r>
              <a:rPr lang="es-CO" sz="1600" dirty="0" smtClean="0"/>
              <a:t>Pérdidas </a:t>
            </a:r>
            <a:r>
              <a:rPr lang="es-CO" sz="1600" dirty="0" smtClean="0"/>
              <a:t>limitadas por COVID </a:t>
            </a:r>
            <a:r>
              <a:rPr lang="es-CO" sz="1600" dirty="0" smtClean="0"/>
              <a:t>para P&amp;C </a:t>
            </a:r>
            <a:r>
              <a:rPr lang="es-CO" sz="1600" dirty="0" smtClean="0"/>
              <a:t>en la región</a:t>
            </a:r>
          </a:p>
          <a:p>
            <a:pPr marL="285750" indent="-285750">
              <a:buFont typeface="Arial" panose="020B0604020202020204" pitchFamily="34" charset="0"/>
              <a:buChar char="•"/>
            </a:pPr>
            <a:r>
              <a:rPr lang="es-CO" sz="1600" dirty="0" smtClean="0"/>
              <a:t>Mejora en tasas originales</a:t>
            </a:r>
          </a:p>
          <a:p>
            <a:pPr marL="285750" indent="-285750">
              <a:buFont typeface="Arial" panose="020B0604020202020204" pitchFamily="34" charset="0"/>
              <a:buChar char="•"/>
            </a:pPr>
            <a:r>
              <a:rPr lang="es-CO" sz="1600" dirty="0" smtClean="0"/>
              <a:t>Mejora en estados financieros de reaseguradores</a:t>
            </a:r>
            <a:endParaRPr lang="es-CO" sz="1600" dirty="0"/>
          </a:p>
        </p:txBody>
      </p:sp>
      <p:sp>
        <p:nvSpPr>
          <p:cNvPr id="18" name="Content Placeholder 2"/>
          <p:cNvSpPr txBox="1">
            <a:spLocks/>
          </p:cNvSpPr>
          <p:nvPr/>
        </p:nvSpPr>
        <p:spPr>
          <a:xfrm>
            <a:off x="309597" y="2950313"/>
            <a:ext cx="11399802" cy="2588500"/>
          </a:xfrm>
          <a:prstGeom prst="rect">
            <a:avLst/>
          </a:prstGeom>
        </p:spPr>
        <p:txBody>
          <a:bodyPr vert="horz" lIns="0" tIns="0" rIns="0" bIns="0" rtlCol="0" anchor="t">
            <a:noAutofit/>
          </a:bodyPr>
          <a:lstStyle>
            <a:lvl1pPr marL="0" indent="0" algn="l" defTabSz="457200" rtl="0" eaLnBrk="1" latinLnBrk="0" hangingPunct="1">
              <a:spcBef>
                <a:spcPts val="900"/>
              </a:spcBef>
              <a:buFont typeface="Arial"/>
              <a:buNone/>
              <a:defRPr sz="1800" b="0" kern="1200">
                <a:solidFill>
                  <a:schemeClr val="tx1"/>
                </a:solidFill>
                <a:latin typeface="+mn-lt"/>
                <a:ea typeface="+mn-ea"/>
                <a:cs typeface="+mn-cs"/>
              </a:defRPr>
            </a:lvl1pPr>
            <a:lvl2pPr marL="283464" indent="-283464" algn="l" defTabSz="457200" rtl="0" eaLnBrk="1" latinLnBrk="0" hangingPunct="1">
              <a:spcBef>
                <a:spcPts val="750"/>
              </a:spcBef>
              <a:buFont typeface="Arial" panose="020B0604020202020204" pitchFamily="34" charset="0"/>
              <a:buChar char="•"/>
              <a:tabLst/>
              <a:defRPr sz="1500" kern="1200">
                <a:solidFill>
                  <a:schemeClr val="tx1"/>
                </a:solidFill>
                <a:latin typeface="+mn-lt"/>
                <a:ea typeface="+mn-ea"/>
                <a:cs typeface="+mn-cs"/>
              </a:defRPr>
            </a:lvl2pPr>
            <a:lvl3pPr marL="566928" indent="-283464" algn="l" defTabSz="457200" rtl="0" eaLnBrk="1" latinLnBrk="0" hangingPunct="1">
              <a:spcBef>
                <a:spcPts val="600"/>
              </a:spcBef>
              <a:buFont typeface="Arial" panose="020B0604020202020204" pitchFamily="34" charset="0"/>
              <a:buChar char="–"/>
              <a:tabLst/>
              <a:defRPr sz="1200" kern="1200">
                <a:solidFill>
                  <a:schemeClr val="tx1"/>
                </a:solidFill>
                <a:latin typeface="+mn-lt"/>
                <a:ea typeface="+mn-ea"/>
                <a:cs typeface="+mn-cs"/>
              </a:defRPr>
            </a:lvl3pPr>
            <a:lvl4pPr marL="859536" indent="-283464" algn="l" defTabSz="457200" rtl="0" eaLnBrk="1" latinLnBrk="0" hangingPunct="1">
              <a:spcBef>
                <a:spcPts val="600"/>
              </a:spcBef>
              <a:buFont typeface="Arial" panose="020B0604020202020204" pitchFamily="34" charset="0"/>
              <a:buChar char="•"/>
              <a:tabLst/>
              <a:defRPr sz="1200" kern="1200">
                <a:solidFill>
                  <a:schemeClr val="tx1"/>
                </a:solidFill>
                <a:latin typeface="+mn-lt"/>
                <a:ea typeface="+mn-ea"/>
                <a:cs typeface="+mn-cs"/>
              </a:defRPr>
            </a:lvl4pPr>
            <a:lvl5pPr marL="1143000" indent="-283464" algn="l" defTabSz="457200" rtl="0" eaLnBrk="1" latinLnBrk="0" hangingPunct="1">
              <a:spcBef>
                <a:spcPts val="600"/>
              </a:spcBef>
              <a:buFont typeface="Arial" panose="020B0604020202020204" pitchFamily="34" charset="0"/>
              <a:buChar char="–"/>
              <a:tabLst/>
              <a:defRPr sz="1200" kern="1200">
                <a:solidFill>
                  <a:schemeClr val="tx1"/>
                </a:solidFill>
                <a:latin typeface="+mn-lt"/>
                <a:ea typeface="+mn-ea"/>
                <a:cs typeface="+mn-cs"/>
              </a:defRPr>
            </a:lvl5pPr>
            <a:lvl6pPr marL="1426464" indent="-283464" algn="l" defTabSz="457200" rtl="0" eaLnBrk="1" latinLnBrk="0" hangingPunct="1">
              <a:spcBef>
                <a:spcPts val="600"/>
              </a:spcBef>
              <a:buFont typeface="Arial"/>
              <a:buChar char="•"/>
              <a:tabLst/>
              <a:defRPr sz="1200" kern="1200">
                <a:solidFill>
                  <a:schemeClr val="tx1"/>
                </a:solidFill>
                <a:latin typeface="+mn-lt"/>
                <a:ea typeface="+mn-ea"/>
                <a:cs typeface="+mn-cs"/>
              </a:defRPr>
            </a:lvl6pPr>
            <a:lvl7pPr marL="1709928" indent="-283464" algn="l" defTabSz="457200" rtl="0" eaLnBrk="1" latinLnBrk="0" hangingPunct="1">
              <a:spcBef>
                <a:spcPts val="600"/>
              </a:spcBef>
              <a:buFont typeface="System Font Regular"/>
              <a:buChar char="–"/>
              <a:tabLst/>
              <a:defRPr sz="1200" kern="1200">
                <a:solidFill>
                  <a:schemeClr val="tx1"/>
                </a:solidFill>
                <a:latin typeface="+mn-lt"/>
                <a:ea typeface="+mn-ea"/>
                <a:cs typeface="+mn-cs"/>
              </a:defRPr>
            </a:lvl7pPr>
            <a:lvl8pPr marL="2002536" indent="-283464" algn="l" defTabSz="457200" rtl="0" eaLnBrk="1" latinLnBrk="0" hangingPunct="1">
              <a:spcBef>
                <a:spcPts val="600"/>
              </a:spcBef>
              <a:buFont typeface="Arial"/>
              <a:buChar char="•"/>
              <a:tabLst/>
              <a:defRPr sz="1200" kern="1200">
                <a:solidFill>
                  <a:schemeClr val="tx1"/>
                </a:solidFill>
                <a:latin typeface="+mn-lt"/>
                <a:ea typeface="+mn-ea"/>
                <a:cs typeface="+mn-cs"/>
              </a:defRPr>
            </a:lvl8pPr>
            <a:lvl9pPr marL="2286000" indent="-283464" algn="l" defTabSz="457200" rtl="0" eaLnBrk="1" latinLnBrk="0" hangingPunct="1">
              <a:spcBef>
                <a:spcPts val="600"/>
              </a:spcBef>
              <a:buFont typeface="System Font Regular"/>
              <a:buChar char="–"/>
              <a:tabLst/>
              <a:defRPr sz="1200" kern="1200">
                <a:solidFill>
                  <a:schemeClr val="tx1"/>
                </a:solidFill>
                <a:latin typeface="+mn-lt"/>
                <a:ea typeface="+mn-ea"/>
                <a:cs typeface="+mn-cs"/>
              </a:defRPr>
            </a:lvl9pPr>
          </a:lstStyle>
          <a:p>
            <a:r>
              <a:rPr lang="es-CO" sz="1600" b="1" u="sng" dirty="0" smtClean="0">
                <a:solidFill>
                  <a:srgbClr val="965D00"/>
                </a:solidFill>
              </a:rPr>
              <a:t>Incertidumbre</a:t>
            </a:r>
            <a:endParaRPr lang="es-CO" sz="1600" dirty="0" smtClean="0">
              <a:solidFill>
                <a:srgbClr val="965D00"/>
              </a:solidFill>
            </a:endParaRPr>
          </a:p>
          <a:p>
            <a:pPr marL="285750" indent="-285750">
              <a:buFont typeface="Arial" panose="020B0604020202020204" pitchFamily="34" charset="0"/>
              <a:buChar char="•"/>
            </a:pPr>
            <a:r>
              <a:rPr lang="es-CO" sz="1600" dirty="0" smtClean="0"/>
              <a:t>Reducción abrupta en apetito de reaseguradores por exposición CAT a nivel global; restricción de autoridad en equipos locales.</a:t>
            </a:r>
          </a:p>
          <a:p>
            <a:pPr marL="285750" indent="-285750">
              <a:buFont typeface="Arial" panose="020B0604020202020204" pitchFamily="34" charset="0"/>
              <a:buChar char="•"/>
            </a:pPr>
            <a:r>
              <a:rPr lang="es-CO" sz="1600" dirty="0" smtClean="0"/>
              <a:t>Inflación (base y social)</a:t>
            </a:r>
          </a:p>
          <a:p>
            <a:pPr marL="285750" indent="-285750">
              <a:buFont typeface="Arial" panose="020B0604020202020204" pitchFamily="34" charset="0"/>
              <a:buChar char="•"/>
            </a:pPr>
            <a:r>
              <a:rPr lang="es-CO" sz="1600" dirty="0" smtClean="0"/>
              <a:t>Crecimiento económico lento post-COVID a lo largo de la región, riesgo de futuros picos</a:t>
            </a:r>
          </a:p>
          <a:p>
            <a:pPr marL="285750" indent="-285750">
              <a:buFont typeface="Arial" panose="020B0604020202020204" pitchFamily="34" charset="0"/>
              <a:buChar char="•"/>
            </a:pPr>
            <a:r>
              <a:rPr lang="es-CO" sz="1600" dirty="0" smtClean="0"/>
              <a:t>Sentimiento de mayor riesgo de disturbios civiles</a:t>
            </a:r>
          </a:p>
          <a:p>
            <a:pPr marL="285750" indent="-285750">
              <a:buFont typeface="Arial" panose="020B0604020202020204" pitchFamily="34" charset="0"/>
              <a:buChar char="•"/>
            </a:pPr>
            <a:r>
              <a:rPr lang="es-CO" sz="1600" dirty="0" smtClean="0"/>
              <a:t>Foco de reaseguradores en amenazas cibernéticas</a:t>
            </a:r>
          </a:p>
          <a:p>
            <a:pPr marL="285750" indent="-285750">
              <a:buFont typeface="Arial" panose="020B0604020202020204" pitchFamily="34" charset="0"/>
              <a:buChar char="•"/>
            </a:pPr>
            <a:r>
              <a:rPr lang="es-CO" sz="1600" dirty="0" smtClean="0"/>
              <a:t>Interrupciones en cadenas de suministro</a:t>
            </a:r>
          </a:p>
          <a:p>
            <a:pPr marL="285750" indent="-285750">
              <a:buFont typeface="Arial" panose="020B0604020202020204" pitchFamily="34" charset="0"/>
              <a:buChar char="•"/>
            </a:pPr>
            <a:r>
              <a:rPr lang="es-CO" sz="1600" dirty="0" smtClean="0"/>
              <a:t>Costo y disponibilidad de retrocesiones</a:t>
            </a:r>
            <a:endParaRPr lang="es-CO" sz="1600" dirty="0"/>
          </a:p>
        </p:txBody>
      </p:sp>
    </p:spTree>
    <p:extLst>
      <p:ext uri="{BB962C8B-B14F-4D97-AF65-F5344CB8AC3E}">
        <p14:creationId xmlns:p14="http://schemas.microsoft.com/office/powerpoint/2010/main" val="29761481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half" idx="10"/>
          </p:nvPr>
        </p:nvSpPr>
        <p:spPr/>
        <p:txBody>
          <a:bodyPr/>
          <a:lstStyle/>
          <a:p>
            <a:endParaRPr lang="es-CO" dirty="0"/>
          </a:p>
        </p:txBody>
      </p:sp>
      <p:sp>
        <p:nvSpPr>
          <p:cNvPr id="4" name="Title 3"/>
          <p:cNvSpPr>
            <a:spLocks noGrp="1"/>
          </p:cNvSpPr>
          <p:nvPr>
            <p:ph type="title"/>
          </p:nvPr>
        </p:nvSpPr>
        <p:spPr/>
        <p:txBody>
          <a:bodyPr/>
          <a:lstStyle/>
          <a:p>
            <a:r>
              <a:rPr lang="es-CO" dirty="0" smtClean="0"/>
              <a:t>Factores del Mercado</a:t>
            </a:r>
            <a:endParaRPr lang="es-CO" dirty="0"/>
          </a:p>
        </p:txBody>
      </p:sp>
      <p:sp>
        <p:nvSpPr>
          <p:cNvPr id="5" name="Text Placeholder 4"/>
          <p:cNvSpPr>
            <a:spLocks noGrp="1"/>
          </p:cNvSpPr>
          <p:nvPr>
            <p:ph type="body" sz="half" idx="2"/>
          </p:nvPr>
        </p:nvSpPr>
        <p:spPr/>
        <p:txBody>
          <a:bodyPr/>
          <a:lstStyle/>
          <a:p>
            <a:r>
              <a:rPr lang="es-CO" dirty="0" smtClean="0"/>
              <a:t>Actividad Importante en </a:t>
            </a:r>
            <a:r>
              <a:rPr lang="es-CO" dirty="0" smtClean="0"/>
              <a:t>Pérdidas </a:t>
            </a:r>
            <a:r>
              <a:rPr lang="es-CO" dirty="0" smtClean="0"/>
              <a:t>a Nivel Global: 2013-2021</a:t>
            </a:r>
            <a:endParaRPr lang="es-CO" dirty="0"/>
          </a:p>
        </p:txBody>
      </p:sp>
      <p:sp>
        <p:nvSpPr>
          <p:cNvPr id="7" name="Rectangle 7"/>
          <p:cNvSpPr>
            <a:spLocks noChangeArrowheads="1"/>
          </p:cNvSpPr>
          <p:nvPr/>
        </p:nvSpPr>
        <p:spPr bwMode="auto">
          <a:xfrm>
            <a:off x="1102659" y="5337961"/>
            <a:ext cx="10488706" cy="73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391" tIns="45695" rIns="91391" bIns="45695">
            <a:spAutoFit/>
          </a:bodyPr>
          <a:lstStyle>
            <a:lvl1pPr algn="l" eaLnBrk="0" hangingPunct="0">
              <a:spcBef>
                <a:spcPct val="60000"/>
              </a:spcBef>
              <a:buChar char="•"/>
              <a:defRPr sz="2000">
                <a:solidFill>
                  <a:schemeClr val="tx1"/>
                </a:solidFill>
                <a:latin typeface="Arial" charset="0"/>
                <a:ea typeface="MS PGothic" pitchFamily="34" charset="-128"/>
              </a:defRPr>
            </a:lvl1pPr>
            <a:lvl2pPr marL="742950" indent="-285750" algn="l" eaLnBrk="0" hangingPunct="0">
              <a:spcBef>
                <a:spcPct val="20000"/>
              </a:spcBef>
              <a:buChar char="–"/>
              <a:defRPr sz="2000">
                <a:solidFill>
                  <a:schemeClr val="tx1"/>
                </a:solidFill>
                <a:latin typeface="Arial" charset="0"/>
                <a:ea typeface="MS PGothic" pitchFamily="34" charset="-128"/>
              </a:defRPr>
            </a:lvl2pPr>
            <a:lvl3pPr marL="1143000" indent="-228600" algn="l" eaLnBrk="0" hangingPunct="0">
              <a:spcBef>
                <a:spcPct val="20000"/>
              </a:spcBef>
              <a:buFont typeface="Arial" charset="0"/>
              <a:buChar char="­"/>
              <a:defRPr sz="2000">
                <a:solidFill>
                  <a:schemeClr val="tx1"/>
                </a:solidFill>
                <a:latin typeface="Arial" charset="0"/>
                <a:ea typeface="MS PGothic" pitchFamily="34" charset="-128"/>
              </a:defRPr>
            </a:lvl3pPr>
            <a:lvl4pPr marL="1600200" indent="-228600" algn="l" eaLnBrk="0" hangingPunct="0">
              <a:spcBef>
                <a:spcPct val="20000"/>
              </a:spcBef>
              <a:buFont typeface="Arial" charset="0"/>
              <a:buChar char="­"/>
              <a:defRPr sz="2000">
                <a:solidFill>
                  <a:schemeClr val="tx1"/>
                </a:solidFill>
                <a:latin typeface="Arial" charset="0"/>
                <a:ea typeface="MS PGothic" pitchFamily="34" charset="-128"/>
              </a:defRPr>
            </a:lvl4pPr>
            <a:lvl5pPr marL="2057400" indent="-228600" algn="l" eaLnBrk="0" hangingPunct="0">
              <a:spcBef>
                <a:spcPct val="20000"/>
              </a:spcBef>
              <a:buFont typeface="Arial" charset="0"/>
              <a:buChar char="-"/>
              <a:defRPr sz="2000">
                <a:solidFill>
                  <a:schemeClr val="tx1"/>
                </a:solidFill>
                <a:latin typeface="Arial" charset="0"/>
                <a:ea typeface="MS PGothic" pitchFamily="34" charset="-128"/>
              </a:defRPr>
            </a:lvl5pPr>
            <a:lvl6pPr marL="2514600" indent="-228600" eaLnBrk="0" fontAlgn="base" hangingPunct="0">
              <a:spcBef>
                <a:spcPct val="20000"/>
              </a:spcBef>
              <a:spcAft>
                <a:spcPct val="0"/>
              </a:spcAft>
              <a:buFont typeface="Arial" charset="0"/>
              <a:buChar char="-"/>
              <a:defRPr sz="2000">
                <a:solidFill>
                  <a:schemeClr val="tx1"/>
                </a:solidFill>
                <a:latin typeface="Arial" charset="0"/>
                <a:ea typeface="MS PGothic" pitchFamily="34" charset="-128"/>
              </a:defRPr>
            </a:lvl6pPr>
            <a:lvl7pPr marL="2971800" indent="-228600" eaLnBrk="0" fontAlgn="base" hangingPunct="0">
              <a:spcBef>
                <a:spcPct val="20000"/>
              </a:spcBef>
              <a:spcAft>
                <a:spcPct val="0"/>
              </a:spcAft>
              <a:buFont typeface="Arial" charset="0"/>
              <a:buChar char="-"/>
              <a:defRPr sz="2000">
                <a:solidFill>
                  <a:schemeClr val="tx1"/>
                </a:solidFill>
                <a:latin typeface="Arial" charset="0"/>
                <a:ea typeface="MS PGothic" pitchFamily="34" charset="-128"/>
              </a:defRPr>
            </a:lvl7pPr>
            <a:lvl8pPr marL="3429000" indent="-228600" eaLnBrk="0" fontAlgn="base" hangingPunct="0">
              <a:spcBef>
                <a:spcPct val="20000"/>
              </a:spcBef>
              <a:spcAft>
                <a:spcPct val="0"/>
              </a:spcAft>
              <a:buFont typeface="Arial" charset="0"/>
              <a:buChar char="-"/>
              <a:defRPr sz="2000">
                <a:solidFill>
                  <a:schemeClr val="tx1"/>
                </a:solidFill>
                <a:latin typeface="Arial" charset="0"/>
                <a:ea typeface="MS PGothic" pitchFamily="34" charset="-128"/>
              </a:defRPr>
            </a:lvl8pPr>
            <a:lvl9pPr marL="3886200" indent="-228600" eaLnBrk="0" fontAlgn="base" hangingPunct="0">
              <a:spcBef>
                <a:spcPct val="20000"/>
              </a:spcBef>
              <a:spcAft>
                <a:spcPct val="0"/>
              </a:spcAft>
              <a:buFont typeface="Arial" charset="0"/>
              <a:buChar char="-"/>
              <a:defRPr sz="2000">
                <a:solidFill>
                  <a:schemeClr val="tx1"/>
                </a:solidFill>
                <a:latin typeface="Arial" charset="0"/>
                <a:ea typeface="MS PGothic" pitchFamily="34" charset="-128"/>
              </a:defRPr>
            </a:lvl9pPr>
          </a:lstStyle>
          <a:p>
            <a:pPr algn="ctr">
              <a:buNone/>
            </a:pPr>
            <a:r>
              <a:rPr lang="es-CO" sz="1400" dirty="0" smtClean="0">
                <a:solidFill>
                  <a:schemeClr val="tx2"/>
                </a:solidFill>
              </a:rPr>
              <a:t>Pérdidas </a:t>
            </a:r>
            <a:r>
              <a:rPr lang="es-CO" sz="1400" dirty="0" smtClean="0">
                <a:solidFill>
                  <a:schemeClr val="tx2"/>
                </a:solidFill>
              </a:rPr>
              <a:t>proyectadas por mas de </a:t>
            </a:r>
            <a:r>
              <a:rPr lang="es-CO" sz="1400" b="1" dirty="0" smtClean="0">
                <a:solidFill>
                  <a:schemeClr val="tx2"/>
                </a:solidFill>
              </a:rPr>
              <a:t>USD 100.000 Millones </a:t>
            </a:r>
            <a:r>
              <a:rPr lang="es-CO" sz="1400" dirty="0" smtClean="0">
                <a:solidFill>
                  <a:schemeClr val="tx2"/>
                </a:solidFill>
              </a:rPr>
              <a:t>con un tercer trimestre de tormentas severas en Estados Unidos. </a:t>
            </a:r>
            <a:br>
              <a:rPr lang="es-CO" sz="1400" dirty="0" smtClean="0">
                <a:solidFill>
                  <a:schemeClr val="tx2"/>
                </a:solidFill>
              </a:rPr>
            </a:br>
            <a:r>
              <a:rPr lang="es-CO" sz="1400" dirty="0" smtClean="0">
                <a:solidFill>
                  <a:schemeClr val="tx2"/>
                </a:solidFill>
              </a:rPr>
              <a:t>Este total incluye </a:t>
            </a:r>
            <a:r>
              <a:rPr lang="es-CO" sz="1400" b="1" dirty="0" smtClean="0">
                <a:solidFill>
                  <a:schemeClr val="tx2"/>
                </a:solidFill>
              </a:rPr>
              <a:t>USD 30.000 Millones </a:t>
            </a:r>
            <a:r>
              <a:rPr lang="es-CO" sz="1400" dirty="0" smtClean="0">
                <a:solidFill>
                  <a:schemeClr val="tx2"/>
                </a:solidFill>
              </a:rPr>
              <a:t>de </a:t>
            </a:r>
            <a:r>
              <a:rPr lang="es-CO" sz="1400" dirty="0" smtClean="0">
                <a:solidFill>
                  <a:schemeClr val="tx2"/>
                </a:solidFill>
              </a:rPr>
              <a:t>pérdidas </a:t>
            </a:r>
            <a:r>
              <a:rPr lang="es-CO" sz="1400" dirty="0" smtClean="0">
                <a:solidFill>
                  <a:schemeClr val="tx2"/>
                </a:solidFill>
              </a:rPr>
              <a:t>estimadas de Huracán Ida. </a:t>
            </a:r>
            <a:br>
              <a:rPr lang="es-CO" sz="1400" dirty="0" smtClean="0">
                <a:solidFill>
                  <a:schemeClr val="tx2"/>
                </a:solidFill>
              </a:rPr>
            </a:br>
            <a:r>
              <a:rPr lang="es-CO" sz="1400" dirty="0" smtClean="0">
                <a:solidFill>
                  <a:schemeClr val="tx2"/>
                </a:solidFill>
              </a:rPr>
              <a:t>Según una encuesta de aseguradores, estas </a:t>
            </a:r>
            <a:r>
              <a:rPr lang="es-CO" sz="1400" dirty="0" smtClean="0">
                <a:solidFill>
                  <a:schemeClr val="tx2"/>
                </a:solidFill>
              </a:rPr>
              <a:t>pérdidas </a:t>
            </a:r>
            <a:r>
              <a:rPr lang="es-CO" sz="1400" dirty="0" smtClean="0">
                <a:solidFill>
                  <a:schemeClr val="tx2"/>
                </a:solidFill>
              </a:rPr>
              <a:t>son una estimación conservadora.</a:t>
            </a:r>
          </a:p>
        </p:txBody>
      </p:sp>
      <p:pic>
        <p:nvPicPr>
          <p:cNvPr id="8" name="Picture 7"/>
          <p:cNvPicPr>
            <a:picLocks noChangeAspect="1"/>
          </p:cNvPicPr>
          <p:nvPr/>
        </p:nvPicPr>
        <p:blipFill>
          <a:blip r:embed="rId2"/>
          <a:stretch>
            <a:fillRect/>
          </a:stretch>
        </p:blipFill>
        <p:spPr>
          <a:xfrm>
            <a:off x="2749549" y="1576489"/>
            <a:ext cx="6692902" cy="3369899"/>
          </a:xfrm>
          <a:prstGeom prst="rect">
            <a:avLst/>
          </a:prstGeom>
        </p:spPr>
      </p:pic>
    </p:spTree>
    <p:extLst>
      <p:ext uri="{BB962C8B-B14F-4D97-AF65-F5344CB8AC3E}">
        <p14:creationId xmlns:p14="http://schemas.microsoft.com/office/powerpoint/2010/main" val="390439689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half" idx="10"/>
          </p:nvPr>
        </p:nvSpPr>
        <p:spPr/>
        <p:txBody>
          <a:bodyPr/>
          <a:lstStyle/>
          <a:p>
            <a:endParaRPr lang="en-GB"/>
          </a:p>
        </p:txBody>
      </p:sp>
      <p:sp>
        <p:nvSpPr>
          <p:cNvPr id="4" name="Title 3"/>
          <p:cNvSpPr>
            <a:spLocks noGrp="1"/>
          </p:cNvSpPr>
          <p:nvPr>
            <p:ph type="title"/>
          </p:nvPr>
        </p:nvSpPr>
        <p:spPr/>
        <p:txBody>
          <a:bodyPr/>
          <a:lstStyle/>
          <a:p>
            <a:r>
              <a:rPr lang="es-CO" dirty="0" smtClean="0"/>
              <a:t>Factores de Mercado</a:t>
            </a:r>
            <a:endParaRPr lang="es-CO" dirty="0"/>
          </a:p>
        </p:txBody>
      </p:sp>
      <p:sp>
        <p:nvSpPr>
          <p:cNvPr id="5" name="Text Placeholder 4"/>
          <p:cNvSpPr>
            <a:spLocks noGrp="1"/>
          </p:cNvSpPr>
          <p:nvPr>
            <p:ph type="body" sz="half" idx="2"/>
          </p:nvPr>
        </p:nvSpPr>
        <p:spPr/>
        <p:txBody>
          <a:bodyPr/>
          <a:lstStyle/>
          <a:p>
            <a:r>
              <a:rPr lang="es-CO" dirty="0" smtClean="0"/>
              <a:t>Capital Dedicado a la Industria de Reaseguro: 2013 – 2021E</a:t>
            </a:r>
            <a:endParaRPr lang="es-CO" dirty="0"/>
          </a:p>
        </p:txBody>
      </p:sp>
      <p:pic>
        <p:nvPicPr>
          <p:cNvPr id="9" name="Content Placeholder 7"/>
          <p:cNvPicPr>
            <a:picLocks noGrp="1" noChangeAspect="1"/>
          </p:cNvPicPr>
          <p:nvPr>
            <p:ph sz="quarter" idx="11"/>
          </p:nvPr>
        </p:nvPicPr>
        <p:blipFill rotWithShape="1">
          <a:blip r:embed="rId2"/>
          <a:srcRect l="13342" t="37461" r="29999" b="18401"/>
          <a:stretch/>
        </p:blipFill>
        <p:spPr>
          <a:xfrm>
            <a:off x="1596189" y="1479999"/>
            <a:ext cx="8341840" cy="3655341"/>
          </a:xfrm>
          <a:prstGeom prst="rect">
            <a:avLst/>
          </a:prstGeom>
        </p:spPr>
      </p:pic>
      <p:sp>
        <p:nvSpPr>
          <p:cNvPr id="10" name="Text Placeholder 8"/>
          <p:cNvSpPr txBox="1">
            <a:spLocks/>
          </p:cNvSpPr>
          <p:nvPr/>
        </p:nvSpPr>
        <p:spPr>
          <a:xfrm>
            <a:off x="1792868" y="5311538"/>
            <a:ext cx="8606265" cy="511175"/>
          </a:xfrm>
          <a:prstGeom prst="rect">
            <a:avLst/>
          </a:prstGeom>
        </p:spPr>
        <p:txBody>
          <a:bodyPr/>
          <a:lstStyle>
            <a:lvl1pPr marL="0" indent="0" algn="l" defTabSz="457200" rtl="0" eaLnBrk="1" latinLnBrk="0" hangingPunct="1">
              <a:spcBef>
                <a:spcPts val="900"/>
              </a:spcBef>
              <a:buFont typeface="Arial"/>
              <a:buNone/>
              <a:defRPr sz="1800" b="0" kern="1200">
                <a:solidFill>
                  <a:schemeClr val="tx1"/>
                </a:solidFill>
                <a:latin typeface="+mn-lt"/>
                <a:ea typeface="+mn-ea"/>
                <a:cs typeface="+mn-cs"/>
              </a:defRPr>
            </a:lvl1pPr>
            <a:lvl2pPr marL="283464" indent="-283464" algn="l" defTabSz="457200" rtl="0" eaLnBrk="1" latinLnBrk="0" hangingPunct="1">
              <a:spcBef>
                <a:spcPts val="750"/>
              </a:spcBef>
              <a:buFont typeface="Arial" panose="020B0604020202020204" pitchFamily="34" charset="0"/>
              <a:buChar char="•"/>
              <a:tabLst/>
              <a:defRPr sz="1500" kern="1200">
                <a:solidFill>
                  <a:schemeClr val="tx1"/>
                </a:solidFill>
                <a:latin typeface="+mn-lt"/>
                <a:ea typeface="+mn-ea"/>
                <a:cs typeface="+mn-cs"/>
              </a:defRPr>
            </a:lvl2pPr>
            <a:lvl3pPr marL="566928" indent="-283464" algn="l" defTabSz="457200" rtl="0" eaLnBrk="1" latinLnBrk="0" hangingPunct="1">
              <a:spcBef>
                <a:spcPts val="600"/>
              </a:spcBef>
              <a:buFont typeface="Arial" panose="020B0604020202020204" pitchFamily="34" charset="0"/>
              <a:buChar char="–"/>
              <a:tabLst/>
              <a:defRPr sz="1200" kern="1200">
                <a:solidFill>
                  <a:schemeClr val="tx1"/>
                </a:solidFill>
                <a:latin typeface="+mn-lt"/>
                <a:ea typeface="+mn-ea"/>
                <a:cs typeface="+mn-cs"/>
              </a:defRPr>
            </a:lvl3pPr>
            <a:lvl4pPr marL="859536" indent="-283464" algn="l" defTabSz="457200" rtl="0" eaLnBrk="1" latinLnBrk="0" hangingPunct="1">
              <a:spcBef>
                <a:spcPts val="600"/>
              </a:spcBef>
              <a:buFont typeface="Arial" panose="020B0604020202020204" pitchFamily="34" charset="0"/>
              <a:buChar char="•"/>
              <a:tabLst/>
              <a:defRPr sz="1200" kern="1200">
                <a:solidFill>
                  <a:schemeClr val="tx1"/>
                </a:solidFill>
                <a:latin typeface="+mn-lt"/>
                <a:ea typeface="+mn-ea"/>
                <a:cs typeface="+mn-cs"/>
              </a:defRPr>
            </a:lvl4pPr>
            <a:lvl5pPr marL="1143000" indent="-283464" algn="l" defTabSz="457200" rtl="0" eaLnBrk="1" latinLnBrk="0" hangingPunct="1">
              <a:spcBef>
                <a:spcPts val="600"/>
              </a:spcBef>
              <a:buFont typeface="Arial" panose="020B0604020202020204" pitchFamily="34" charset="0"/>
              <a:buChar char="–"/>
              <a:tabLst/>
              <a:defRPr sz="1200" kern="1200">
                <a:solidFill>
                  <a:schemeClr val="tx1"/>
                </a:solidFill>
                <a:latin typeface="+mn-lt"/>
                <a:ea typeface="+mn-ea"/>
                <a:cs typeface="+mn-cs"/>
              </a:defRPr>
            </a:lvl5pPr>
            <a:lvl6pPr marL="1426464" indent="-283464" algn="l" defTabSz="457200" rtl="0" eaLnBrk="1" latinLnBrk="0" hangingPunct="1">
              <a:spcBef>
                <a:spcPts val="600"/>
              </a:spcBef>
              <a:buFont typeface="Arial"/>
              <a:buChar char="•"/>
              <a:tabLst/>
              <a:defRPr sz="1200" kern="1200">
                <a:solidFill>
                  <a:schemeClr val="tx1"/>
                </a:solidFill>
                <a:latin typeface="+mn-lt"/>
                <a:ea typeface="+mn-ea"/>
                <a:cs typeface="+mn-cs"/>
              </a:defRPr>
            </a:lvl6pPr>
            <a:lvl7pPr marL="1709928" indent="-283464" algn="l" defTabSz="457200" rtl="0" eaLnBrk="1" latinLnBrk="0" hangingPunct="1">
              <a:spcBef>
                <a:spcPts val="600"/>
              </a:spcBef>
              <a:buFont typeface="System Font Regular"/>
              <a:buChar char="–"/>
              <a:tabLst/>
              <a:defRPr sz="1200" kern="1200">
                <a:solidFill>
                  <a:schemeClr val="tx1"/>
                </a:solidFill>
                <a:latin typeface="+mn-lt"/>
                <a:ea typeface="+mn-ea"/>
                <a:cs typeface="+mn-cs"/>
              </a:defRPr>
            </a:lvl7pPr>
            <a:lvl8pPr marL="2002536" indent="-283464" algn="l" defTabSz="457200" rtl="0" eaLnBrk="1" latinLnBrk="0" hangingPunct="1">
              <a:spcBef>
                <a:spcPts val="600"/>
              </a:spcBef>
              <a:buFont typeface="Arial"/>
              <a:buChar char="•"/>
              <a:tabLst/>
              <a:defRPr sz="1200" kern="1200">
                <a:solidFill>
                  <a:schemeClr val="tx1"/>
                </a:solidFill>
                <a:latin typeface="+mn-lt"/>
                <a:ea typeface="+mn-ea"/>
                <a:cs typeface="+mn-cs"/>
              </a:defRPr>
            </a:lvl8pPr>
            <a:lvl9pPr marL="2286000" indent="-283464" algn="l" defTabSz="457200" rtl="0" eaLnBrk="1" latinLnBrk="0" hangingPunct="1">
              <a:spcBef>
                <a:spcPts val="600"/>
              </a:spcBef>
              <a:buFont typeface="System Font Regular"/>
              <a:buChar char="–"/>
              <a:tabLst/>
              <a:defRPr sz="1200" kern="1200">
                <a:solidFill>
                  <a:schemeClr val="tx1"/>
                </a:solidFill>
                <a:latin typeface="+mn-lt"/>
                <a:ea typeface="+mn-ea"/>
                <a:cs typeface="+mn-cs"/>
              </a:defRPr>
            </a:lvl9pPr>
          </a:lstStyle>
          <a:p>
            <a:pPr lvl="0" algn="ctr">
              <a:spcBef>
                <a:spcPts val="0"/>
              </a:spcBef>
            </a:pPr>
            <a:r>
              <a:rPr lang="es-CO" sz="1400" i="1" dirty="0" smtClean="0">
                <a:solidFill>
                  <a:srgbClr val="FF8C00"/>
                </a:solidFill>
              </a:rPr>
              <a:t>El capital total dedicado al Reaseguro aumento </a:t>
            </a:r>
            <a:r>
              <a:rPr lang="es-CO" sz="1400" b="1" i="1" dirty="0" smtClean="0">
                <a:solidFill>
                  <a:srgbClr val="FF8C00"/>
                </a:solidFill>
              </a:rPr>
              <a:t>2.8%</a:t>
            </a:r>
            <a:r>
              <a:rPr lang="es-CO" sz="1400" i="1" dirty="0" smtClean="0">
                <a:solidFill>
                  <a:srgbClr val="FF8C00"/>
                </a:solidFill>
              </a:rPr>
              <a:t> con respecto a 2020. Esto es el capital total comprometido y no refleja la disminución en capital disponible debido a obligaciones de </a:t>
            </a:r>
            <a:r>
              <a:rPr lang="es-CO" sz="1400" i="1" dirty="0" smtClean="0">
                <a:solidFill>
                  <a:srgbClr val="FF8C00"/>
                </a:solidFill>
              </a:rPr>
              <a:t>fondeo. </a:t>
            </a:r>
            <a:r>
              <a:rPr lang="es-CO" sz="1400" i="1" dirty="0" smtClean="0">
                <a:solidFill>
                  <a:srgbClr val="FF8C00"/>
                </a:solidFill>
              </a:rPr>
              <a:t>Este capital “atrapado” se estima en menos del 5% del total capital dedicado. </a:t>
            </a:r>
          </a:p>
          <a:p>
            <a:pPr lvl="0" algn="ctr">
              <a:spcBef>
                <a:spcPts val="0"/>
              </a:spcBef>
            </a:pPr>
            <a:endParaRPr lang="es-CO" sz="1400" i="1" dirty="0" smtClean="0">
              <a:solidFill>
                <a:srgbClr val="FF8C00"/>
              </a:solidFill>
            </a:endParaRPr>
          </a:p>
          <a:p>
            <a:endParaRPr lang="es-CO" sz="1400" dirty="0"/>
          </a:p>
        </p:txBody>
      </p:sp>
    </p:spTree>
    <p:extLst>
      <p:ext uri="{BB962C8B-B14F-4D97-AF65-F5344CB8AC3E}">
        <p14:creationId xmlns:p14="http://schemas.microsoft.com/office/powerpoint/2010/main" val="67307305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half" idx="10"/>
          </p:nvPr>
        </p:nvSpPr>
        <p:spPr/>
        <p:txBody>
          <a:bodyPr/>
          <a:lstStyle/>
          <a:p>
            <a:endParaRPr lang="en-GB"/>
          </a:p>
        </p:txBody>
      </p:sp>
      <p:sp>
        <p:nvSpPr>
          <p:cNvPr id="4" name="Title 3"/>
          <p:cNvSpPr>
            <a:spLocks noGrp="1"/>
          </p:cNvSpPr>
          <p:nvPr>
            <p:ph type="title"/>
          </p:nvPr>
        </p:nvSpPr>
        <p:spPr/>
        <p:txBody>
          <a:bodyPr/>
          <a:lstStyle/>
          <a:p>
            <a:r>
              <a:rPr lang="es-CO" dirty="0" smtClean="0"/>
              <a:t>Índice Global </a:t>
            </a:r>
            <a:r>
              <a:rPr lang="es-CO" dirty="0"/>
              <a:t>del </a:t>
            </a:r>
            <a:r>
              <a:rPr lang="es-CO" dirty="0" smtClean="0"/>
              <a:t>ROL en </a:t>
            </a:r>
            <a:r>
              <a:rPr lang="es-CO" dirty="0" err="1" smtClean="0"/>
              <a:t>Property</a:t>
            </a:r>
            <a:endParaRPr lang="es-CO" dirty="0"/>
          </a:p>
        </p:txBody>
      </p:sp>
      <p:sp>
        <p:nvSpPr>
          <p:cNvPr id="5" name="Text Placeholder 4"/>
          <p:cNvSpPr>
            <a:spLocks noGrp="1"/>
          </p:cNvSpPr>
          <p:nvPr>
            <p:ph type="body" sz="half" idx="2"/>
          </p:nvPr>
        </p:nvSpPr>
        <p:spPr/>
        <p:txBody>
          <a:bodyPr/>
          <a:lstStyle/>
          <a:p>
            <a:r>
              <a:rPr lang="es-CO" dirty="0" smtClean="0"/>
              <a:t>1990 – Enero 1, 2022</a:t>
            </a:r>
            <a:endParaRPr lang="es-CO" dirty="0"/>
          </a:p>
        </p:txBody>
      </p:sp>
      <p:pic>
        <p:nvPicPr>
          <p:cNvPr id="9" name="Picture 8"/>
          <p:cNvPicPr>
            <a:picLocks noChangeAspect="1"/>
          </p:cNvPicPr>
          <p:nvPr/>
        </p:nvPicPr>
        <p:blipFill>
          <a:blip r:embed="rId2"/>
          <a:stretch>
            <a:fillRect/>
          </a:stretch>
        </p:blipFill>
        <p:spPr>
          <a:xfrm>
            <a:off x="1367688" y="1323089"/>
            <a:ext cx="9456624" cy="3990145"/>
          </a:xfrm>
          <a:prstGeom prst="rect">
            <a:avLst/>
          </a:prstGeom>
        </p:spPr>
      </p:pic>
      <p:sp>
        <p:nvSpPr>
          <p:cNvPr id="10" name="Text Placeholder 8"/>
          <p:cNvSpPr txBox="1">
            <a:spLocks/>
          </p:cNvSpPr>
          <p:nvPr/>
        </p:nvSpPr>
        <p:spPr>
          <a:xfrm>
            <a:off x="1909482" y="5486104"/>
            <a:ext cx="8471647" cy="511175"/>
          </a:xfrm>
          <a:prstGeom prst="rect">
            <a:avLst/>
          </a:prstGeom>
        </p:spPr>
        <p:txBody>
          <a:bodyPr/>
          <a:lstStyle>
            <a:lvl1pPr marL="0" indent="0" algn="l" defTabSz="457200" rtl="0" eaLnBrk="1" latinLnBrk="0" hangingPunct="1">
              <a:spcBef>
                <a:spcPts val="900"/>
              </a:spcBef>
              <a:buFont typeface="Arial"/>
              <a:buNone/>
              <a:defRPr sz="1800" b="0" kern="1200">
                <a:solidFill>
                  <a:schemeClr val="tx1"/>
                </a:solidFill>
                <a:latin typeface="+mn-lt"/>
                <a:ea typeface="+mn-ea"/>
                <a:cs typeface="+mn-cs"/>
              </a:defRPr>
            </a:lvl1pPr>
            <a:lvl2pPr marL="283464" indent="-283464" algn="l" defTabSz="457200" rtl="0" eaLnBrk="1" latinLnBrk="0" hangingPunct="1">
              <a:spcBef>
                <a:spcPts val="750"/>
              </a:spcBef>
              <a:buFont typeface="Arial" panose="020B0604020202020204" pitchFamily="34" charset="0"/>
              <a:buChar char="•"/>
              <a:tabLst/>
              <a:defRPr sz="1500" kern="1200">
                <a:solidFill>
                  <a:schemeClr val="tx1"/>
                </a:solidFill>
                <a:latin typeface="+mn-lt"/>
                <a:ea typeface="+mn-ea"/>
                <a:cs typeface="+mn-cs"/>
              </a:defRPr>
            </a:lvl2pPr>
            <a:lvl3pPr marL="566928" indent="-283464" algn="l" defTabSz="457200" rtl="0" eaLnBrk="1" latinLnBrk="0" hangingPunct="1">
              <a:spcBef>
                <a:spcPts val="600"/>
              </a:spcBef>
              <a:buFont typeface="Arial" panose="020B0604020202020204" pitchFamily="34" charset="0"/>
              <a:buChar char="–"/>
              <a:tabLst/>
              <a:defRPr sz="1200" kern="1200">
                <a:solidFill>
                  <a:schemeClr val="tx1"/>
                </a:solidFill>
                <a:latin typeface="+mn-lt"/>
                <a:ea typeface="+mn-ea"/>
                <a:cs typeface="+mn-cs"/>
              </a:defRPr>
            </a:lvl3pPr>
            <a:lvl4pPr marL="859536" indent="-283464" algn="l" defTabSz="457200" rtl="0" eaLnBrk="1" latinLnBrk="0" hangingPunct="1">
              <a:spcBef>
                <a:spcPts val="600"/>
              </a:spcBef>
              <a:buFont typeface="Arial" panose="020B0604020202020204" pitchFamily="34" charset="0"/>
              <a:buChar char="•"/>
              <a:tabLst/>
              <a:defRPr sz="1200" kern="1200">
                <a:solidFill>
                  <a:schemeClr val="tx1"/>
                </a:solidFill>
                <a:latin typeface="+mn-lt"/>
                <a:ea typeface="+mn-ea"/>
                <a:cs typeface="+mn-cs"/>
              </a:defRPr>
            </a:lvl4pPr>
            <a:lvl5pPr marL="1143000" indent="-283464" algn="l" defTabSz="457200" rtl="0" eaLnBrk="1" latinLnBrk="0" hangingPunct="1">
              <a:spcBef>
                <a:spcPts val="600"/>
              </a:spcBef>
              <a:buFont typeface="Arial" panose="020B0604020202020204" pitchFamily="34" charset="0"/>
              <a:buChar char="–"/>
              <a:tabLst/>
              <a:defRPr sz="1200" kern="1200">
                <a:solidFill>
                  <a:schemeClr val="tx1"/>
                </a:solidFill>
                <a:latin typeface="+mn-lt"/>
                <a:ea typeface="+mn-ea"/>
                <a:cs typeface="+mn-cs"/>
              </a:defRPr>
            </a:lvl5pPr>
            <a:lvl6pPr marL="1426464" indent="-283464" algn="l" defTabSz="457200" rtl="0" eaLnBrk="1" latinLnBrk="0" hangingPunct="1">
              <a:spcBef>
                <a:spcPts val="600"/>
              </a:spcBef>
              <a:buFont typeface="Arial"/>
              <a:buChar char="•"/>
              <a:tabLst/>
              <a:defRPr sz="1200" kern="1200">
                <a:solidFill>
                  <a:schemeClr val="tx1"/>
                </a:solidFill>
                <a:latin typeface="+mn-lt"/>
                <a:ea typeface="+mn-ea"/>
                <a:cs typeface="+mn-cs"/>
              </a:defRPr>
            </a:lvl6pPr>
            <a:lvl7pPr marL="1709928" indent="-283464" algn="l" defTabSz="457200" rtl="0" eaLnBrk="1" latinLnBrk="0" hangingPunct="1">
              <a:spcBef>
                <a:spcPts val="600"/>
              </a:spcBef>
              <a:buFont typeface="System Font Regular"/>
              <a:buChar char="–"/>
              <a:tabLst/>
              <a:defRPr sz="1200" kern="1200">
                <a:solidFill>
                  <a:schemeClr val="tx1"/>
                </a:solidFill>
                <a:latin typeface="+mn-lt"/>
                <a:ea typeface="+mn-ea"/>
                <a:cs typeface="+mn-cs"/>
              </a:defRPr>
            </a:lvl7pPr>
            <a:lvl8pPr marL="2002536" indent="-283464" algn="l" defTabSz="457200" rtl="0" eaLnBrk="1" latinLnBrk="0" hangingPunct="1">
              <a:spcBef>
                <a:spcPts val="600"/>
              </a:spcBef>
              <a:buFont typeface="Arial"/>
              <a:buChar char="•"/>
              <a:tabLst/>
              <a:defRPr sz="1200" kern="1200">
                <a:solidFill>
                  <a:schemeClr val="tx1"/>
                </a:solidFill>
                <a:latin typeface="+mn-lt"/>
                <a:ea typeface="+mn-ea"/>
                <a:cs typeface="+mn-cs"/>
              </a:defRPr>
            </a:lvl8pPr>
            <a:lvl9pPr marL="2286000" indent="-283464" algn="l" defTabSz="457200" rtl="0" eaLnBrk="1" latinLnBrk="0" hangingPunct="1">
              <a:spcBef>
                <a:spcPts val="600"/>
              </a:spcBef>
              <a:buFont typeface="System Font Regular"/>
              <a:buChar char="–"/>
              <a:tabLst/>
              <a:defRPr sz="1200" kern="1200">
                <a:solidFill>
                  <a:schemeClr val="tx1"/>
                </a:solidFill>
                <a:latin typeface="+mn-lt"/>
                <a:ea typeface="+mn-ea"/>
                <a:cs typeface="+mn-cs"/>
              </a:defRPr>
            </a:lvl9pPr>
          </a:lstStyle>
          <a:p>
            <a:pPr lvl="0" algn="ctr">
              <a:spcBef>
                <a:spcPts val="0"/>
              </a:spcBef>
            </a:pPr>
            <a:r>
              <a:rPr lang="es-CO" sz="1600" i="1" dirty="0" smtClean="0">
                <a:solidFill>
                  <a:srgbClr val="FF8C00"/>
                </a:solidFill>
              </a:rPr>
              <a:t>El Índice de ROL Global aumentó </a:t>
            </a:r>
            <a:r>
              <a:rPr lang="es-CO" sz="1600" b="1" i="1" dirty="0" smtClean="0">
                <a:solidFill>
                  <a:srgbClr val="FF8C00"/>
                </a:solidFill>
              </a:rPr>
              <a:t>10.8% año-año</a:t>
            </a:r>
            <a:r>
              <a:rPr lang="es-CO" sz="1600" i="1" dirty="0" smtClean="0">
                <a:solidFill>
                  <a:srgbClr val="FF8C00"/>
                </a:solidFill>
              </a:rPr>
              <a:t>. Ajustes de estructura, particularmente en retenciones, prevalecieron </a:t>
            </a:r>
            <a:r>
              <a:rPr lang="es-CO" sz="1600" i="1" dirty="0" smtClean="0">
                <a:solidFill>
                  <a:srgbClr val="FF8C00"/>
                </a:solidFill>
              </a:rPr>
              <a:t>en </a:t>
            </a:r>
            <a:r>
              <a:rPr lang="es-CO" sz="1600" i="1" dirty="0" smtClean="0">
                <a:solidFill>
                  <a:srgbClr val="FF8C00"/>
                </a:solidFill>
              </a:rPr>
              <a:t>sectores impactados por </a:t>
            </a:r>
            <a:r>
              <a:rPr lang="es-CO" sz="1600" i="1" dirty="0" smtClean="0">
                <a:solidFill>
                  <a:srgbClr val="FF8C00"/>
                </a:solidFill>
              </a:rPr>
              <a:t>pérdidas</a:t>
            </a:r>
            <a:r>
              <a:rPr lang="es-CO" sz="1600" i="1" dirty="0" smtClean="0">
                <a:solidFill>
                  <a:srgbClr val="FF8C00"/>
                </a:solidFill>
              </a:rPr>
              <a:t>. </a:t>
            </a:r>
          </a:p>
          <a:p>
            <a:endParaRPr lang="es-CO" sz="1600" dirty="0"/>
          </a:p>
        </p:txBody>
      </p:sp>
    </p:spTree>
    <p:extLst>
      <p:ext uri="{BB962C8B-B14F-4D97-AF65-F5344CB8AC3E}">
        <p14:creationId xmlns:p14="http://schemas.microsoft.com/office/powerpoint/2010/main" val="313847584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half" idx="11"/>
          </p:nvPr>
        </p:nvSpPr>
        <p:spPr/>
        <p:txBody>
          <a:bodyPr/>
          <a:lstStyle/>
          <a:p>
            <a:r>
              <a:rPr lang="es-CO" dirty="0" smtClean="0"/>
              <a:t>Fuente: Guy Carpenter </a:t>
            </a:r>
            <a:endParaRPr lang="es-CO" dirty="0"/>
          </a:p>
        </p:txBody>
      </p:sp>
      <p:sp>
        <p:nvSpPr>
          <p:cNvPr id="5" name="Title 4"/>
          <p:cNvSpPr>
            <a:spLocks noGrp="1"/>
          </p:cNvSpPr>
          <p:nvPr>
            <p:ph type="title"/>
          </p:nvPr>
        </p:nvSpPr>
        <p:spPr/>
        <p:txBody>
          <a:bodyPr/>
          <a:lstStyle/>
          <a:p>
            <a:r>
              <a:rPr lang="es-CO" dirty="0" smtClean="0"/>
              <a:t>Property XOL – Cambio en Precios Riesgo-Ajustado</a:t>
            </a:r>
            <a:endParaRPr lang="es-CO" dirty="0"/>
          </a:p>
        </p:txBody>
      </p:sp>
      <p:sp>
        <p:nvSpPr>
          <p:cNvPr id="6" name="Text Placeholder 5"/>
          <p:cNvSpPr>
            <a:spLocks noGrp="1"/>
          </p:cNvSpPr>
          <p:nvPr>
            <p:ph type="body" sz="half" idx="12"/>
          </p:nvPr>
        </p:nvSpPr>
        <p:spPr/>
        <p:txBody>
          <a:bodyPr/>
          <a:lstStyle/>
          <a:p>
            <a:r>
              <a:rPr lang="es-CO" dirty="0" smtClean="0"/>
              <a:t>Julio 1, 2022*</a:t>
            </a:r>
            <a:endParaRPr lang="es-CO" dirty="0"/>
          </a:p>
        </p:txBody>
      </p:sp>
      <p:sp>
        <p:nvSpPr>
          <p:cNvPr id="7" name="Text Placeholder 3"/>
          <p:cNvSpPr txBox="1">
            <a:spLocks/>
          </p:cNvSpPr>
          <p:nvPr/>
        </p:nvSpPr>
        <p:spPr>
          <a:xfrm>
            <a:off x="830578" y="5747938"/>
            <a:ext cx="5252720" cy="247650"/>
          </a:xfrm>
          <a:prstGeom prst="rect">
            <a:avLst/>
          </a:prstGeom>
        </p:spPr>
        <p:txBody>
          <a:bodyPr vert="horz" lIns="0" tIns="0" rIns="0" bIns="0" rtlCol="0" anchor="b">
            <a:noAutofit/>
          </a:bodyPr>
          <a:lstStyle>
            <a:lvl1pPr marL="0" indent="0" algn="r" defTabSz="457200" rtl="0" eaLnBrk="1" latinLnBrk="0" hangingPunct="1">
              <a:spcBef>
                <a:spcPts val="900"/>
              </a:spcBef>
              <a:buFont typeface="Arial"/>
              <a:buNone/>
              <a:defRPr sz="800" b="0" kern="1200">
                <a:solidFill>
                  <a:schemeClr val="tx1"/>
                </a:solidFill>
                <a:latin typeface="+mn-lt"/>
                <a:ea typeface="+mn-ea"/>
                <a:cs typeface="+mn-cs"/>
              </a:defRPr>
            </a:lvl1pPr>
            <a:lvl2pPr marL="457200" indent="0" algn="l" defTabSz="457200" rtl="0" eaLnBrk="1" latinLnBrk="0" hangingPunct="1">
              <a:spcBef>
                <a:spcPts val="750"/>
              </a:spcBef>
              <a:buFont typeface="Arial" panose="020B0604020202020204" pitchFamily="34" charset="0"/>
              <a:buNone/>
              <a:tabLst/>
              <a:defRPr sz="1200" kern="1200">
                <a:solidFill>
                  <a:schemeClr val="tx1"/>
                </a:solidFill>
                <a:latin typeface="+mn-lt"/>
                <a:ea typeface="+mn-ea"/>
                <a:cs typeface="+mn-cs"/>
              </a:defRPr>
            </a:lvl2pPr>
            <a:lvl3pPr marL="914400" indent="0" algn="l" defTabSz="457200" rtl="0" eaLnBrk="1" latinLnBrk="0" hangingPunct="1">
              <a:spcBef>
                <a:spcPts val="600"/>
              </a:spcBef>
              <a:buFont typeface="Arial" panose="020B0604020202020204" pitchFamily="34" charset="0"/>
              <a:buNone/>
              <a:tabLst/>
              <a:defRPr sz="1000" kern="1200">
                <a:solidFill>
                  <a:schemeClr val="tx1"/>
                </a:solidFill>
                <a:latin typeface="+mn-lt"/>
                <a:ea typeface="+mn-ea"/>
                <a:cs typeface="+mn-cs"/>
              </a:defRPr>
            </a:lvl3pPr>
            <a:lvl4pPr marL="1371600" indent="0" algn="l" defTabSz="457200" rtl="0" eaLnBrk="1" latinLnBrk="0" hangingPunct="1">
              <a:spcBef>
                <a:spcPts val="600"/>
              </a:spcBef>
              <a:buFont typeface="Arial" panose="020B0604020202020204" pitchFamily="34" charset="0"/>
              <a:buNone/>
              <a:tabLst/>
              <a:defRPr sz="900" kern="1200">
                <a:solidFill>
                  <a:schemeClr val="tx1"/>
                </a:solidFill>
                <a:latin typeface="+mn-lt"/>
                <a:ea typeface="+mn-ea"/>
                <a:cs typeface="+mn-cs"/>
              </a:defRPr>
            </a:lvl4pPr>
            <a:lvl5pPr marL="1828800" indent="0" algn="l" defTabSz="457200" rtl="0" eaLnBrk="1" latinLnBrk="0" hangingPunct="1">
              <a:spcBef>
                <a:spcPts val="600"/>
              </a:spcBef>
              <a:buFont typeface="Arial" panose="020B0604020202020204" pitchFamily="34" charset="0"/>
              <a:buNone/>
              <a:tabLst/>
              <a:defRPr sz="900" kern="1200">
                <a:solidFill>
                  <a:schemeClr val="tx1"/>
                </a:solidFill>
                <a:latin typeface="+mn-lt"/>
                <a:ea typeface="+mn-ea"/>
                <a:cs typeface="+mn-cs"/>
              </a:defRPr>
            </a:lvl5pPr>
            <a:lvl6pPr marL="2286000" indent="0" algn="l" defTabSz="457200" rtl="0" eaLnBrk="1" latinLnBrk="0" hangingPunct="1">
              <a:spcBef>
                <a:spcPts val="600"/>
              </a:spcBef>
              <a:buFont typeface="Arial"/>
              <a:buNone/>
              <a:tabLst/>
              <a:defRPr sz="900" kern="1200">
                <a:solidFill>
                  <a:schemeClr val="tx1"/>
                </a:solidFill>
                <a:latin typeface="+mn-lt"/>
                <a:ea typeface="+mn-ea"/>
                <a:cs typeface="+mn-cs"/>
              </a:defRPr>
            </a:lvl6pPr>
            <a:lvl7pPr marL="2743200" indent="0" algn="l" defTabSz="457200" rtl="0" eaLnBrk="1" latinLnBrk="0" hangingPunct="1">
              <a:spcBef>
                <a:spcPts val="600"/>
              </a:spcBef>
              <a:buFont typeface="System Font Regular"/>
              <a:buNone/>
              <a:tabLst/>
              <a:defRPr sz="900" kern="1200">
                <a:solidFill>
                  <a:schemeClr val="tx1"/>
                </a:solidFill>
                <a:latin typeface="+mn-lt"/>
                <a:ea typeface="+mn-ea"/>
                <a:cs typeface="+mn-cs"/>
              </a:defRPr>
            </a:lvl7pPr>
            <a:lvl8pPr marL="3200400" indent="0" algn="l" defTabSz="457200" rtl="0" eaLnBrk="1" latinLnBrk="0" hangingPunct="1">
              <a:spcBef>
                <a:spcPts val="600"/>
              </a:spcBef>
              <a:buFont typeface="Arial"/>
              <a:buNone/>
              <a:tabLst/>
              <a:defRPr sz="900" kern="1200">
                <a:solidFill>
                  <a:schemeClr val="tx1"/>
                </a:solidFill>
                <a:latin typeface="+mn-lt"/>
                <a:ea typeface="+mn-ea"/>
                <a:cs typeface="+mn-cs"/>
              </a:defRPr>
            </a:lvl8pPr>
            <a:lvl9pPr marL="3657600" indent="0" algn="l" defTabSz="457200" rtl="0" eaLnBrk="1" latinLnBrk="0" hangingPunct="1">
              <a:spcBef>
                <a:spcPts val="600"/>
              </a:spcBef>
              <a:buFont typeface="System Font Regular"/>
              <a:buNone/>
              <a:tabLst/>
              <a:defRPr sz="900" kern="1200">
                <a:solidFill>
                  <a:schemeClr val="tx1"/>
                </a:solidFill>
                <a:latin typeface="+mn-lt"/>
                <a:ea typeface="+mn-ea"/>
                <a:cs typeface="+mn-cs"/>
              </a:defRPr>
            </a:lvl9pPr>
          </a:lstStyle>
          <a:p>
            <a:r>
              <a:rPr lang="es-CO" sz="1000" i="1" dirty="0" smtClean="0"/>
              <a:t>* Cambio promedio en programas que no han sido impactados por siniestros. </a:t>
            </a:r>
            <a:br>
              <a:rPr lang="es-CO" sz="1000" i="1" dirty="0" smtClean="0"/>
            </a:br>
            <a:r>
              <a:rPr lang="es-CO" sz="1000" i="1" dirty="0" smtClean="0"/>
              <a:t>Los resultados totales tuvieron mayor dispersión; programas con características particulares y/o impacto por siniestros sufrieron cambios.</a:t>
            </a:r>
            <a:endParaRPr lang="es-CO" sz="1000" i="1" dirty="0"/>
          </a:p>
        </p:txBody>
      </p:sp>
      <p:sp>
        <p:nvSpPr>
          <p:cNvPr id="11" name="Content Placeholder 7"/>
          <p:cNvSpPr>
            <a:spLocks noGrp="1"/>
          </p:cNvSpPr>
          <p:nvPr>
            <p:ph sz="half" idx="2"/>
          </p:nvPr>
        </p:nvSpPr>
        <p:spPr>
          <a:xfrm>
            <a:off x="6460114" y="1488222"/>
            <a:ext cx="5499098" cy="4059292"/>
          </a:xfrm>
          <a:noFill/>
        </p:spPr>
        <p:txBody>
          <a:bodyPr/>
          <a:lstStyle/>
          <a:p>
            <a:r>
              <a:rPr lang="es-CO" sz="2000" b="1" dirty="0" smtClean="0"/>
              <a:t>Temas Clave de Renovación</a:t>
            </a:r>
          </a:p>
          <a:p>
            <a:pPr marL="285750" indent="-285750">
              <a:buFont typeface="Arial" panose="020B0604020202020204" pitchFamily="34" charset="0"/>
              <a:buChar char="•"/>
            </a:pPr>
            <a:r>
              <a:rPr lang="es-CO" sz="2000" dirty="0" smtClean="0"/>
              <a:t>Reducción de capacidad de varios reaseguradores en la región (Especialmente en países con mayor exposición catastrófica)</a:t>
            </a:r>
          </a:p>
          <a:p>
            <a:pPr marL="285750" indent="-285750">
              <a:buFont typeface="Arial" panose="020B0604020202020204" pitchFamily="34" charset="0"/>
              <a:buChar char="•"/>
            </a:pPr>
            <a:r>
              <a:rPr lang="es-CO" sz="2000" dirty="0" smtClean="0"/>
              <a:t>Expectativa generalizada de aumentos de precio de todos los reaseguradores en todas las colocaciones</a:t>
            </a:r>
          </a:p>
          <a:p>
            <a:pPr marL="285750" indent="-285750">
              <a:buFont typeface="Arial" panose="020B0604020202020204" pitchFamily="34" charset="0"/>
              <a:buChar char="•"/>
            </a:pPr>
            <a:r>
              <a:rPr lang="es-CO" sz="2000" dirty="0" smtClean="0"/>
              <a:t>La inflación </a:t>
            </a:r>
            <a:r>
              <a:rPr lang="es-CO" sz="2000" dirty="0" smtClean="0"/>
              <a:t>fue de los </a:t>
            </a:r>
            <a:r>
              <a:rPr lang="es-CO" sz="2000" dirty="0" smtClean="0"/>
              <a:t>temas más citados </a:t>
            </a:r>
            <a:r>
              <a:rPr lang="es-CO" sz="2000" dirty="0" smtClean="0"/>
              <a:t>por parte de reaseguradores para </a:t>
            </a:r>
            <a:r>
              <a:rPr lang="es-CO" sz="2000" dirty="0" smtClean="0"/>
              <a:t>la búsqueda de aumento de </a:t>
            </a:r>
            <a:r>
              <a:rPr lang="es-CO" sz="2000" dirty="0" smtClean="0"/>
              <a:t>precios</a:t>
            </a:r>
          </a:p>
          <a:p>
            <a:pPr marL="285750" indent="-285750">
              <a:buFont typeface="Arial" panose="020B0604020202020204" pitchFamily="34" charset="0"/>
              <a:buChar char="•"/>
            </a:pPr>
            <a:r>
              <a:rPr lang="es-CO" sz="2000" dirty="0" smtClean="0"/>
              <a:t>Renovaciones anticipadas </a:t>
            </a:r>
            <a:r>
              <a:rPr lang="es-CO" sz="2000" dirty="0" smtClean="0"/>
              <a:t>resultaron ser mejor atendidas </a:t>
            </a:r>
            <a:r>
              <a:rPr lang="es-CO" sz="2000" dirty="0" smtClean="0"/>
              <a:t>por reaseguradores. Los procesos </a:t>
            </a:r>
            <a:r>
              <a:rPr lang="es-CO" sz="2000" dirty="0" smtClean="0"/>
              <a:t>de renovación tardíos fueron </a:t>
            </a:r>
            <a:r>
              <a:rPr lang="es-CO" sz="2000" dirty="0" smtClean="0"/>
              <a:t>más </a:t>
            </a:r>
            <a:r>
              <a:rPr lang="es-CO" sz="2000" dirty="0" smtClean="0"/>
              <a:t>complejos</a:t>
            </a:r>
          </a:p>
        </p:txBody>
      </p:sp>
      <p:pic>
        <p:nvPicPr>
          <p:cNvPr id="9" name="Picture 8"/>
          <p:cNvPicPr>
            <a:picLocks noChangeAspect="1"/>
          </p:cNvPicPr>
          <p:nvPr/>
        </p:nvPicPr>
        <p:blipFill>
          <a:blip r:embed="rId3"/>
          <a:stretch>
            <a:fillRect/>
          </a:stretch>
        </p:blipFill>
        <p:spPr>
          <a:xfrm>
            <a:off x="230989" y="1424519"/>
            <a:ext cx="6093549" cy="4121275"/>
          </a:xfrm>
          <a:prstGeom prst="rect">
            <a:avLst/>
          </a:prstGeom>
        </p:spPr>
      </p:pic>
    </p:spTree>
    <p:extLst>
      <p:ext uri="{BB962C8B-B14F-4D97-AF65-F5344CB8AC3E}">
        <p14:creationId xmlns:p14="http://schemas.microsoft.com/office/powerpoint/2010/main" val="357309563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half" idx="11"/>
          </p:nvPr>
        </p:nvSpPr>
        <p:spPr/>
        <p:txBody>
          <a:bodyPr/>
          <a:lstStyle/>
          <a:p>
            <a:r>
              <a:rPr lang="es-CO" dirty="0" smtClean="0"/>
              <a:t>Fuente: Guy Carpenter </a:t>
            </a:r>
            <a:endParaRPr lang="es-CO" dirty="0"/>
          </a:p>
        </p:txBody>
      </p:sp>
      <p:sp>
        <p:nvSpPr>
          <p:cNvPr id="5" name="Title 4"/>
          <p:cNvSpPr>
            <a:spLocks noGrp="1"/>
          </p:cNvSpPr>
          <p:nvPr>
            <p:ph type="title"/>
          </p:nvPr>
        </p:nvSpPr>
        <p:spPr>
          <a:xfrm>
            <a:off x="457199" y="355601"/>
            <a:ext cx="11923059" cy="495299"/>
          </a:xfrm>
        </p:spPr>
        <p:txBody>
          <a:bodyPr/>
          <a:lstStyle/>
          <a:p>
            <a:r>
              <a:rPr lang="es-CO" dirty="0" smtClean="0"/>
              <a:t>Property Pro Rata – Cambios Típicos de Precio Riesgo-Ajustado</a:t>
            </a:r>
            <a:endParaRPr lang="es-CO" dirty="0"/>
          </a:p>
        </p:txBody>
      </p:sp>
      <p:sp>
        <p:nvSpPr>
          <p:cNvPr id="6" name="Text Placeholder 5"/>
          <p:cNvSpPr>
            <a:spLocks noGrp="1"/>
          </p:cNvSpPr>
          <p:nvPr>
            <p:ph type="body" sz="half" idx="12"/>
          </p:nvPr>
        </p:nvSpPr>
        <p:spPr/>
        <p:txBody>
          <a:bodyPr/>
          <a:lstStyle/>
          <a:p>
            <a:r>
              <a:rPr lang="es-CO" dirty="0" smtClean="0"/>
              <a:t>Julio 1, 2022*</a:t>
            </a:r>
            <a:endParaRPr lang="es-CO" dirty="0"/>
          </a:p>
        </p:txBody>
      </p:sp>
      <p:sp>
        <p:nvSpPr>
          <p:cNvPr id="11" name="Content Placeholder 7"/>
          <p:cNvSpPr>
            <a:spLocks noGrp="1"/>
          </p:cNvSpPr>
          <p:nvPr>
            <p:ph sz="half" idx="2"/>
          </p:nvPr>
        </p:nvSpPr>
        <p:spPr>
          <a:xfrm>
            <a:off x="485776" y="1820548"/>
            <a:ext cx="10664477" cy="3872286"/>
          </a:xfrm>
          <a:noFill/>
        </p:spPr>
        <p:txBody>
          <a:bodyPr/>
          <a:lstStyle/>
          <a:p>
            <a:r>
              <a:rPr lang="es-CO" sz="2000" b="1" dirty="0" smtClean="0"/>
              <a:t>Temas Clave de Renovación</a:t>
            </a:r>
          </a:p>
          <a:p>
            <a:pPr marL="285750" indent="-285750">
              <a:buFont typeface="Arial" panose="020B0604020202020204" pitchFamily="34" charset="0"/>
              <a:buChar char="•"/>
            </a:pPr>
            <a:r>
              <a:rPr lang="es-CO" sz="2000" dirty="0" smtClean="0"/>
              <a:t>Capacidad limitada – En general, poca o mínima sobre-colocación en la mayoría de programas. Ausencia de capacidad catastrófica en zonas pico (Chile, Jamaica).</a:t>
            </a:r>
          </a:p>
          <a:p>
            <a:pPr marL="285750" indent="-285750">
              <a:buFont typeface="Arial" panose="020B0604020202020204" pitchFamily="34" charset="0"/>
              <a:buChar char="•"/>
            </a:pPr>
            <a:r>
              <a:rPr lang="es-CO" sz="2000" dirty="0" smtClean="0"/>
              <a:t>Comisiones de Reaseguro se mantuvieron estables en lugares donde se mantuvo la capacidad, aumentó en </a:t>
            </a:r>
            <a:r>
              <a:rPr lang="es-CO" sz="2000" dirty="0" smtClean="0"/>
              <a:t>programas/países </a:t>
            </a:r>
            <a:r>
              <a:rPr lang="es-CO" sz="2000" dirty="0" smtClean="0"/>
              <a:t>con alta capacidad catastrófica.</a:t>
            </a:r>
          </a:p>
          <a:p>
            <a:pPr marL="285750" indent="-285750">
              <a:buFont typeface="Arial" panose="020B0604020202020204" pitchFamily="34" charset="0"/>
              <a:buChar char="•"/>
            </a:pPr>
            <a:r>
              <a:rPr lang="es-CO" sz="2000" dirty="0" smtClean="0"/>
              <a:t>No hubo cambios en tasas originales pero los reaseguradores presionaron aseguradores para promover aumentos.</a:t>
            </a:r>
          </a:p>
          <a:p>
            <a:pPr marL="285750" indent="-285750">
              <a:buFont typeface="Arial" panose="020B0604020202020204" pitchFamily="34" charset="0"/>
              <a:buChar char="•"/>
            </a:pPr>
            <a:r>
              <a:rPr lang="es-CO" sz="2000" dirty="0" smtClean="0"/>
              <a:t>En algunos casos, la reducción de PML en riesgos catastróficos ayudo a mitigar la falta de capacidad.</a:t>
            </a:r>
          </a:p>
          <a:p>
            <a:pPr marL="285750" indent="-285750">
              <a:buFont typeface="Arial" panose="020B0604020202020204" pitchFamily="34" charset="0"/>
              <a:buChar char="•"/>
            </a:pPr>
            <a:r>
              <a:rPr lang="es-CO" sz="2000" dirty="0" smtClean="0"/>
              <a:t>Renovaciones demoradas de nuevo; Cedentes que actuaron </a:t>
            </a:r>
            <a:r>
              <a:rPr lang="es-CO" sz="2000" dirty="0" err="1" smtClean="0"/>
              <a:t>proactivemente</a:t>
            </a:r>
            <a:r>
              <a:rPr lang="es-CO" sz="2000" dirty="0" smtClean="0"/>
              <a:t> se vieron </a:t>
            </a:r>
            <a:r>
              <a:rPr lang="es-CO" sz="2000" dirty="0" smtClean="0"/>
              <a:t>beneficiadas.</a:t>
            </a:r>
            <a:endParaRPr lang="es-CO" sz="2000" dirty="0" smtClean="0"/>
          </a:p>
        </p:txBody>
      </p:sp>
    </p:spTree>
    <p:extLst>
      <p:ext uri="{BB962C8B-B14F-4D97-AF65-F5344CB8AC3E}">
        <p14:creationId xmlns:p14="http://schemas.microsoft.com/office/powerpoint/2010/main" val="129467229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s-CO" dirty="0" smtClean="0"/>
              <a:t>Aspectos a Destacas por Territorio / Línea de Negocio</a:t>
            </a:r>
            <a:endParaRPr lang="es-CO" dirty="0"/>
          </a:p>
        </p:txBody>
      </p:sp>
      <p:graphicFrame>
        <p:nvGraphicFramePr>
          <p:cNvPr id="3" name="Content Placeholder 2"/>
          <p:cNvGraphicFramePr>
            <a:graphicFrameLocks noGrp="1"/>
          </p:cNvGraphicFramePr>
          <p:nvPr>
            <p:ph sz="half" idx="1"/>
            <p:extLst>
              <p:ext uri="{D42A27DB-BD31-4B8C-83A1-F6EECF244321}">
                <p14:modId xmlns:p14="http://schemas.microsoft.com/office/powerpoint/2010/main" val="3884901024"/>
              </p:ext>
            </p:extLst>
          </p:nvPr>
        </p:nvGraphicFramePr>
        <p:xfrm>
          <a:off x="457200" y="1003299"/>
          <a:ext cx="11252200" cy="600710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ext Placeholder 5"/>
          <p:cNvSpPr>
            <a:spLocks noGrp="1"/>
          </p:cNvSpPr>
          <p:nvPr>
            <p:ph type="body" sz="half" idx="12"/>
          </p:nvPr>
        </p:nvSpPr>
        <p:spPr>
          <a:xfrm>
            <a:off x="485776" y="806807"/>
            <a:ext cx="11223624" cy="318476"/>
          </a:xfrm>
        </p:spPr>
        <p:txBody>
          <a:bodyPr/>
          <a:lstStyle/>
          <a:p>
            <a:pPr algn="l"/>
            <a:r>
              <a:rPr lang="es-CO" sz="1800" b="1" dirty="0">
                <a:solidFill>
                  <a:schemeClr val="tx2"/>
                </a:solidFill>
              </a:rPr>
              <a:t>Julio 1, 2022*</a:t>
            </a:r>
          </a:p>
        </p:txBody>
      </p:sp>
    </p:spTree>
    <p:extLst>
      <p:ext uri="{BB962C8B-B14F-4D97-AF65-F5344CB8AC3E}">
        <p14:creationId xmlns:p14="http://schemas.microsoft.com/office/powerpoint/2010/main" val="358655089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s-CO" dirty="0" smtClean="0"/>
              <a:t>Temas Emergentes</a:t>
            </a:r>
            <a:endParaRPr lang="es-CO" dirty="0"/>
          </a:p>
        </p:txBody>
      </p:sp>
      <p:graphicFrame>
        <p:nvGraphicFramePr>
          <p:cNvPr id="13" name="Content Placeholder 12"/>
          <p:cNvGraphicFramePr>
            <a:graphicFrameLocks noGrp="1"/>
          </p:cNvGraphicFramePr>
          <p:nvPr>
            <p:ph sz="half" idx="1"/>
            <p:extLst>
              <p:ext uri="{D42A27DB-BD31-4B8C-83A1-F6EECF244321}">
                <p14:modId xmlns:p14="http://schemas.microsoft.com/office/powerpoint/2010/main" val="1027822089"/>
              </p:ext>
            </p:extLst>
          </p:nvPr>
        </p:nvGraphicFramePr>
        <p:xfrm>
          <a:off x="414655" y="1315085"/>
          <a:ext cx="11223625" cy="451167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Rounded Rectangle 2"/>
          <p:cNvSpPr/>
          <p:nvPr/>
        </p:nvSpPr>
        <p:spPr>
          <a:xfrm>
            <a:off x="680720" y="3937000"/>
            <a:ext cx="4013200" cy="1889760"/>
          </a:xfrm>
          <a:prstGeom prst="roundRect">
            <a:avLst/>
          </a:prstGeom>
          <a:noFill/>
          <a:ln/>
        </p:spPr>
        <p:style>
          <a:lnRef idx="2">
            <a:schemeClr val="accent1"/>
          </a:lnRef>
          <a:fillRef idx="1">
            <a:schemeClr val="lt1"/>
          </a:fillRef>
          <a:effectRef idx="0">
            <a:schemeClr val="accent1"/>
          </a:effectRef>
          <a:fontRef idx="minor">
            <a:schemeClr val="dk1"/>
          </a:fontRef>
        </p:style>
        <p:txBody>
          <a:bodyPr rtlCol="0" anchor="ctr"/>
          <a:lstStyle/>
          <a:p>
            <a:pPr marL="285750" lvl="0" indent="-285750">
              <a:buFont typeface="Arial" panose="020B0604020202020204" pitchFamily="34" charset="0"/>
              <a:buChar char="•"/>
            </a:pPr>
            <a:r>
              <a:rPr lang="es-CO" sz="1600" dirty="0" smtClean="0"/>
              <a:t>Aumento de requerimientos regulatorios en algunos países </a:t>
            </a:r>
            <a:r>
              <a:rPr lang="es-CO" sz="1600" dirty="0" smtClean="0"/>
              <a:t>impulsa </a:t>
            </a:r>
            <a:r>
              <a:rPr lang="es-CO" sz="1600" dirty="0" smtClean="0"/>
              <a:t>la demanda por Reaseguro</a:t>
            </a:r>
          </a:p>
          <a:p>
            <a:pPr marL="285750" lvl="0" indent="-285750">
              <a:buFont typeface="Arial" panose="020B0604020202020204" pitchFamily="34" charset="0"/>
              <a:buChar char="•"/>
            </a:pPr>
            <a:r>
              <a:rPr lang="es-CO" sz="1600" dirty="0" smtClean="0"/>
              <a:t>Supervisión basada en riesgos ha avanzado lentamente en la región</a:t>
            </a:r>
            <a:endParaRPr lang="es-CO" sz="1600" dirty="0"/>
          </a:p>
        </p:txBody>
      </p:sp>
      <p:sp>
        <p:nvSpPr>
          <p:cNvPr id="8" name="Rounded Rectangle 7"/>
          <p:cNvSpPr/>
          <p:nvPr/>
        </p:nvSpPr>
        <p:spPr>
          <a:xfrm>
            <a:off x="660400" y="1315085"/>
            <a:ext cx="4013200" cy="1889760"/>
          </a:xfrm>
          <a:prstGeom prst="roundRect">
            <a:avLst/>
          </a:prstGeom>
          <a:noFill/>
          <a:ln/>
        </p:spPr>
        <p:style>
          <a:lnRef idx="2">
            <a:schemeClr val="accent1"/>
          </a:lnRef>
          <a:fillRef idx="1">
            <a:schemeClr val="lt1"/>
          </a:fillRef>
          <a:effectRef idx="0">
            <a:schemeClr val="accent1"/>
          </a:effectRef>
          <a:fontRef idx="minor">
            <a:schemeClr val="dk1"/>
          </a:fontRef>
        </p:style>
        <p:txBody>
          <a:bodyPr rtlCol="0" anchor="ctr"/>
          <a:lstStyle/>
          <a:p>
            <a:pPr marL="285750" lvl="0" indent="-285750">
              <a:buFont typeface="Arial" panose="020B0604020202020204" pitchFamily="34" charset="0"/>
              <a:buChar char="•"/>
            </a:pPr>
            <a:r>
              <a:rPr lang="es-CO" sz="1600" dirty="0" smtClean="0"/>
              <a:t>Procesos de negociación </a:t>
            </a:r>
            <a:r>
              <a:rPr lang="es-CO" sz="1600" dirty="0" smtClean="0"/>
              <a:t>más </a:t>
            </a:r>
            <a:r>
              <a:rPr lang="es-CO" sz="1600" dirty="0" smtClean="0"/>
              <a:t>largos debido a cambios en autoridad de suscripción / </a:t>
            </a:r>
            <a:r>
              <a:rPr lang="es-CO" sz="1600" dirty="0" smtClean="0"/>
              <a:t>más </a:t>
            </a:r>
            <a:r>
              <a:rPr lang="es-CO" sz="1600" dirty="0" smtClean="0"/>
              <a:t>aprobaciones de casas matrices</a:t>
            </a:r>
          </a:p>
          <a:p>
            <a:pPr marL="285750" lvl="0" indent="-285750">
              <a:buFont typeface="Arial" panose="020B0604020202020204" pitchFamily="34" charset="0"/>
              <a:buChar char="•"/>
            </a:pPr>
            <a:r>
              <a:rPr lang="es-CO" sz="1600" dirty="0" smtClean="0"/>
              <a:t>Favorecimiento de procesos de renovación manejados con anticipación.</a:t>
            </a:r>
            <a:endParaRPr lang="es-CO" sz="1600" dirty="0"/>
          </a:p>
        </p:txBody>
      </p:sp>
      <p:sp>
        <p:nvSpPr>
          <p:cNvPr id="11" name="Rounded Rectangle 10"/>
          <p:cNvSpPr/>
          <p:nvPr/>
        </p:nvSpPr>
        <p:spPr>
          <a:xfrm>
            <a:off x="7635240" y="3918369"/>
            <a:ext cx="4013200" cy="1889760"/>
          </a:xfrm>
          <a:prstGeom prst="roundRect">
            <a:avLst/>
          </a:prstGeom>
          <a:noFill/>
          <a:ln/>
        </p:spPr>
        <p:style>
          <a:lnRef idx="2">
            <a:schemeClr val="accent1"/>
          </a:lnRef>
          <a:fillRef idx="1">
            <a:schemeClr val="lt1"/>
          </a:fillRef>
          <a:effectRef idx="0">
            <a:schemeClr val="accent1"/>
          </a:effectRef>
          <a:fontRef idx="minor">
            <a:schemeClr val="dk1"/>
          </a:fontRef>
        </p:style>
        <p:txBody>
          <a:bodyPr lIns="182880" rtlCol="0" anchor="ctr"/>
          <a:lstStyle/>
          <a:p>
            <a:pPr marL="285750" lvl="0" indent="-285750">
              <a:buFont typeface="Arial" panose="020B0604020202020204" pitchFamily="34" charset="0"/>
              <a:buChar char="•"/>
            </a:pPr>
            <a:r>
              <a:rPr lang="es-CO" sz="1600" dirty="0" smtClean="0"/>
              <a:t>Algunos mercados han empezado a mencionar ESG y su impacto en líneas de Petróleo, Minas y Gas en particular.</a:t>
            </a:r>
          </a:p>
          <a:p>
            <a:pPr marL="285750" lvl="0" indent="-285750">
              <a:buFont typeface="Arial" panose="020B0604020202020204" pitchFamily="34" charset="0"/>
              <a:buChar char="•"/>
            </a:pPr>
            <a:r>
              <a:rPr lang="es-CO" sz="1600" dirty="0" smtClean="0"/>
              <a:t>Potencial de limitar capacidad en contratos automáticos en el futuro</a:t>
            </a:r>
            <a:endParaRPr lang="es-CO" sz="1600" dirty="0"/>
          </a:p>
        </p:txBody>
      </p:sp>
      <p:sp>
        <p:nvSpPr>
          <p:cNvPr id="12" name="Rounded Rectangle 11"/>
          <p:cNvSpPr/>
          <p:nvPr/>
        </p:nvSpPr>
        <p:spPr>
          <a:xfrm>
            <a:off x="7604760" y="1296454"/>
            <a:ext cx="4013200" cy="1889760"/>
          </a:xfrm>
          <a:prstGeom prst="roundRect">
            <a:avLst/>
          </a:prstGeom>
          <a:noFill/>
          <a:ln/>
        </p:spPr>
        <p:style>
          <a:lnRef idx="2">
            <a:schemeClr val="accent1"/>
          </a:lnRef>
          <a:fillRef idx="1">
            <a:schemeClr val="lt1"/>
          </a:fillRef>
          <a:effectRef idx="0">
            <a:schemeClr val="accent1"/>
          </a:effectRef>
          <a:fontRef idx="minor">
            <a:schemeClr val="dk1"/>
          </a:fontRef>
        </p:style>
        <p:txBody>
          <a:bodyPr lIns="182880" rtlCol="0" anchor="ctr"/>
          <a:lstStyle/>
          <a:p>
            <a:pPr marL="285750" lvl="0" indent="-285750">
              <a:buFont typeface="Arial" panose="020B0604020202020204" pitchFamily="34" charset="0"/>
              <a:buChar char="•"/>
            </a:pPr>
            <a:r>
              <a:rPr lang="es-CO" sz="1600" dirty="0" smtClean="0"/>
              <a:t>Impacto directo en algunos territorios (Ej. Trinidad &amp; Tobago)</a:t>
            </a:r>
          </a:p>
          <a:p>
            <a:pPr marL="285750" lvl="0" indent="-285750">
              <a:buFont typeface="Arial" panose="020B0604020202020204" pitchFamily="34" charset="0"/>
              <a:buChar char="•"/>
            </a:pPr>
            <a:r>
              <a:rPr lang="es-CO" sz="1600" dirty="0" smtClean="0"/>
              <a:t>Impacto en capacidad y precio</a:t>
            </a:r>
            <a:endParaRPr lang="es-CO" sz="1600" dirty="0"/>
          </a:p>
        </p:txBody>
      </p:sp>
    </p:spTree>
    <p:extLst>
      <p:ext uri="{BB962C8B-B14F-4D97-AF65-F5344CB8AC3E}">
        <p14:creationId xmlns:p14="http://schemas.microsoft.com/office/powerpoint/2010/main" val="407646683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uy Carpenter">
  <a:themeElements>
    <a:clrScheme name="GC Cool Color Palette">
      <a:dk1>
        <a:srgbClr val="202020"/>
      </a:dk1>
      <a:lt1>
        <a:srgbClr val="FFFFFF"/>
      </a:lt1>
      <a:dk2>
        <a:srgbClr val="002C77"/>
      </a:dk2>
      <a:lt2>
        <a:srgbClr val="F0F0F0"/>
      </a:lt2>
      <a:accent1>
        <a:srgbClr val="002C77"/>
      </a:accent1>
      <a:accent2>
        <a:srgbClr val="009DE0"/>
      </a:accent2>
      <a:accent3>
        <a:srgbClr val="00AC41"/>
      </a:accent3>
      <a:accent4>
        <a:srgbClr val="76D3FF"/>
      </a:accent4>
      <a:accent5>
        <a:srgbClr val="949494"/>
      </a:accent5>
      <a:accent6>
        <a:srgbClr val="8096B2"/>
      </a:accent6>
      <a:hlink>
        <a:srgbClr val="2C6EF2"/>
      </a:hlink>
      <a:folHlink>
        <a:srgbClr val="009DE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0F0F0"/>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lgn="l">
          <a:defRPr dirty="0" err="1"/>
        </a:defPPr>
      </a:lstStyle>
    </a:txDef>
  </a:objectDefaults>
  <a:extraClrSchemeLst/>
  <a:custClrLst>
    <a:custClr name="Dark blue">
      <a:srgbClr val="002C77"/>
    </a:custClr>
    <a:custClr name="Blue">
      <a:srgbClr val="009DE0"/>
    </a:custClr>
    <a:custClr name="Light blue">
      <a:srgbClr val="76D3FF"/>
    </a:custClr>
    <a:custClr name="Dark teal">
      <a:srgbClr val="004C6C"/>
    </a:custClr>
    <a:custClr name="Teal">
      <a:srgbClr val="0077A0"/>
    </a:custClr>
    <a:custClr name="Light teal">
      <a:srgbClr val="9CD9E4"/>
    </a:custClr>
    <a:custClr name="Dark turquoise">
      <a:srgbClr val="005E5D"/>
    </a:custClr>
    <a:custClr name="Turquoise">
      <a:srgbClr val="00968F"/>
    </a:custClr>
    <a:custClr name="Light turquoise">
      <a:srgbClr val="98DBCE"/>
    </a:custClr>
    <a:custClr name="White">
      <a:srgbClr val="FFFFFF"/>
    </a:custClr>
    <a:custClr name="Dark green">
      <a:srgbClr val="275D38"/>
    </a:custClr>
    <a:custClr name="Green">
      <a:srgbClr val="00AC41"/>
    </a:custClr>
    <a:custClr name="Light green">
      <a:srgbClr val="ADDFB3"/>
    </a:custClr>
    <a:custClr name="Dark purple">
      <a:srgbClr val="463282"/>
    </a:custClr>
    <a:custClr name="Purple">
      <a:srgbClr val="8246AF"/>
    </a:custClr>
    <a:custClr name="Light purple">
      <a:srgbClr val="CCB3E0"/>
    </a:custClr>
    <a:custClr name="Dark pink">
      <a:srgbClr val="B2025B"/>
    </a:custClr>
    <a:custClr name="Pink">
      <a:srgbClr val="EE3D8B"/>
    </a:custClr>
    <a:custClr name="Light pink">
      <a:srgbClr val="F8ACBE"/>
    </a:custClr>
    <a:custClr name="White">
      <a:srgbClr val="FFFFFF"/>
    </a:custClr>
    <a:custClr name="Dark crimson">
      <a:srgbClr val="9A1C1F"/>
    </a:custClr>
    <a:custClr name="Crimson">
      <a:srgbClr val="EF4E45"/>
    </a:custClr>
    <a:custClr name="Light crimson">
      <a:srgbClr val="FFAEA6"/>
    </a:custClr>
    <a:custClr name="Dark orange">
      <a:srgbClr val="A32E00"/>
    </a:custClr>
    <a:custClr name="Orange">
      <a:srgbClr val="FF8C00"/>
    </a:custClr>
    <a:custClr name="Light orange">
      <a:srgbClr val="FFCA94"/>
    </a:custClr>
    <a:custClr name="Dark yellow">
      <a:srgbClr val="965D00"/>
    </a:custClr>
    <a:custClr name="Yellow">
      <a:srgbClr val="FFBE00"/>
    </a:custClr>
    <a:custClr name="Light yellow">
      <a:srgbClr val="FFE580"/>
    </a:custClr>
    <a:custClr name="White">
      <a:srgbClr val="FFFFFF"/>
    </a:custClr>
    <a:custClr name="Dark blue gray">
      <a:srgbClr val="4E6287"/>
    </a:custClr>
    <a:custClr name="Blue gray">
      <a:srgbClr val="8096B2"/>
    </a:custClr>
    <a:custClr name="Light blue gray">
      <a:srgbClr val="BED3E4"/>
    </a:custClr>
    <a:custClr name="Dark gray">
      <a:srgbClr val="565656"/>
    </a:custClr>
    <a:custClr name="Gray">
      <a:srgbClr val="949494"/>
    </a:custClr>
    <a:custClr name="Light gray">
      <a:srgbClr val="DADADA"/>
    </a:custClr>
    <a:custClr name="Background gray">
      <a:srgbClr val="F0F0F0"/>
    </a:custClr>
    <a:custClr name="Link blue">
      <a:srgbClr val="2C6EF2"/>
    </a:custClr>
    <a:custClr name="Warning red">
      <a:srgbClr val="C53532"/>
    </a:custClr>
    <a:custClr name="Success green">
      <a:srgbClr val="14853D"/>
    </a:custClr>
  </a:custClrLst>
  <a:extLst>
    <a:ext uri="{05A4C25C-085E-4340-85A3-A5531E510DB2}">
      <thm15:themeFamily xmlns:thm15="http://schemas.microsoft.com/office/thememl/2012/main" name="Guy Carpenter_PPT_Template_4-27-21.potx, backup version [Read-Only]" id="{0F0292C6-E4BF-41C8-8A7D-1CF94B7960D0}" vid="{9B46CCCE-7C9E-4B40-92D0-BEE9AFDF2E2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1 6 " ? > < M M C O A _ O b j e c t T a g s   x m l n s : x s i = " h t t p : / / w w w . w 3 . o r g / 2 0 0 1 / X M L S c h e m a - i n s t a n c e "   x m l n s : x s d = " h t t p : / / w w w . w 3 . o r g / 2 0 0 1 / X M L S c h e m a " >  
     < P r e s e n t a t i o n O b j e c t T a g   T a g N a m e = " M M C O A _ S A M P L E S L I D E _ I D " > 2 f e d d 6 8 2 - 4 2 7 4 - 4 a d a - b 9 3 f - e 3 8 3 3 5 d 6 6 e e 3 < / P r e s e n t a t i o n O b j e c t T a g >  
 < / M M C O A _ O b j e c t T a g s > 
</file>

<file path=customXml/item10.xml>��< ? x m l   v e r s i o n = " 1 . 0 "   e n c o d i n g = " u t f - 1 6 " ? > < M M C O A _ O b j e c t T a g s   x m l n s : x s i = " h t t p : / / w w w . w 3 . o r g / 2 0 0 1 / X M L S c h e m a - i n s t a n c e "   x m l n s : x s d = " h t t p : / / w w w . w 3 . o r g / 2 0 0 1 / X M L S c h e m a " >  
     < P r e s e n t a t i o n O b j e c t T a g   T a g N a m e = " M M C 0 9 _ P O P U L A T E T E X T " > { S u b T i t l e } < / P r e s e n t a t i o n O b j e c t T a g >  
 < / M M C O A _ O b j e c t T a g s > 
</file>

<file path=customXml/item11.xml><?xml version="1.0" encoding="utf-8"?>
<ct:contentTypeSchema xmlns:ct="http://schemas.microsoft.com/office/2006/metadata/contentType" xmlns:ma="http://schemas.microsoft.com/office/2006/metadata/properties/metaAttributes" ct:_="" ma:_="" ma:contentTypeName="Document" ma:contentTypeID="0x010100E8FEFF94A7971A4D81883C31CFA75AFF" ma:contentTypeVersion="14" ma:contentTypeDescription="Create a new document." ma:contentTypeScope="" ma:versionID="cc72e345dacbd05de22de49b257df5e8">
  <xsd:schema xmlns:xsd="http://www.w3.org/2001/XMLSchema" xmlns:xs="http://www.w3.org/2001/XMLSchema" xmlns:p="http://schemas.microsoft.com/office/2006/metadata/properties" xmlns:ns3="bbde8da2-f31a-44c0-a1d5-6b87fec3c76e" xmlns:ns4="7f0453b8-ab38-4dc1-916f-db52cb999787" targetNamespace="http://schemas.microsoft.com/office/2006/metadata/properties" ma:root="true" ma:fieldsID="59147403da1203ea1418127d66a5a34e" ns3:_="" ns4:_="">
    <xsd:import namespace="bbde8da2-f31a-44c0-a1d5-6b87fec3c76e"/>
    <xsd:import namespace="7f0453b8-ab38-4dc1-916f-db52cb999787"/>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DateTaken" minOccurs="0"/>
                <xsd:element ref="ns4:MediaLengthInSeconds" minOccurs="0"/>
                <xsd:element ref="ns4:MediaServiceAutoTags" minOccurs="0"/>
                <xsd:element ref="ns4:MediaServiceOCR" minOccurs="0"/>
                <xsd:element ref="ns4:MediaServiceGenerationTime" minOccurs="0"/>
                <xsd:element ref="ns4:MediaServiceEventHashCode" minOccurs="0"/>
                <xsd:element ref="ns4:MediaServiceAutoKeyPoints" minOccurs="0"/>
                <xsd:element ref="ns4:MediaServiceKeyPoints" minOccurs="0"/>
                <xsd:element ref="ns4: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bde8da2-f31a-44c0-a1d5-6b87fec3c76e"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f0453b8-ab38-4dc1-916f-db52cb999787"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DateTaken" ma:index="13" nillable="true" ma:displayName="MediaServiceDateTaken" ma:hidden="true" ma:internalName="MediaServiceDateTaken" ma:readOnly="true">
      <xsd:simpleType>
        <xsd:restriction base="dms:Text"/>
      </xsd:simpleType>
    </xsd:element>
    <xsd:element name="MediaLengthInSeconds" ma:index="14" nillable="true" ma:displayName="Length (seconds)" ma:internalName="MediaLengthInSeconds" ma:readOnly="true">
      <xsd:simpleType>
        <xsd:restriction base="dms:Unknown"/>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MediaServiceLocation" ma:index="21" nillable="true" ma:displayName="Location"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12.xml>��< ? x m l   v e r s i o n = " 1 . 0 "   e n c o d i n g = " u t f - 1 6 " ? > < M M C O A _ O b j e c t T a g s   x m l n s : x s i = " h t t p : / / w w w . w 3 . o r g / 2 0 0 1 / X M L S c h e m a - i n s t a n c e "   x m l n s : x s d = " h t t p : / / w w w . w 3 . o r g / 2 0 0 1 / X M L S c h e m a " >  
     < P r e s e n t a t i o n O b j e c t T a g   T a g N a m e = " M M C 0 9 _ P O P U L A T E T E X T " > { F r o n t C o v e r E x t r a W o r d i n g } < / P r e s e n t a t i o n O b j e c t T a g >  
     < P r e s e n t a t i o n O b j e c t T a g   T a g N a m e = " M M C 0 9 _ B R A N D F O N T S T Y L E " > C o v e r T e x t < / P r e s e n t a t i o n O b j e c t T a g >  
 < / M M C O A _ O b j e c t T a g s > 
</file>

<file path=customXml/item13.xml>��< ? x m l   v e r s i o n = " 1 . 0 "   e n c o d i n g = " u t f - 1 6 " ? > < M M C O A _ O b j e c t T a g s   x m l n s : x s d = " h t t p : / / w w w . w 3 . o r g / 2 0 0 1 / X M L S c h e m a "   x m l n s : x s i = " h t t p : / / w w w . w 3 . o r g / 2 0 0 1 / X M L S c h e m a - i n s t a n c e " >  
     < P r e s e n t a t i o n O b j e c t T a g   T a g N a m e = " M M C 0 9 _ L A Y O U T " > F r o n t C o v e r < / P r e s e n t a t i o n O b j e c t T a g >  
     < P r e s e n t a t i o n O b j e c t T a g   T a g N a m e = " M M C 0 9 _ B A C K G R O U N D S T Y L E " > F r o n t C o v e r < / P r e s e n t a t i o n O b j e c t T a g >  
     < P r e s e n t a t i o n O b j e c t T a g   T a g N a m e = " M M C 0 9 _ A D D L O G O S " > C o v e r M a i n L o g o , F r o n t L o g o , 3 8 . 2 7 , 2 7 . 2 1 < / P r e s e n t a t i o n O b j e c t T a g >  
     < P r e s e n t a t i o n O b j e c t T a g   T a g N a m e = " M M C O A _ B A C K G R O U N D _ L O G O _ O P T I O N " > W H I T E < / P r e s e n t a t i o n O b j e c t T a g >  
     < P r e s e n t a t i o n O b j e c t T a g   T a g N a m e = " M M C O A _ B A C K G R O U N D _ D I G E S T " > g r a d ; s i m p l e - d a r k - t u r q u o i s e < / P r e s e n t a t i o n O b j e c t T a g >  
     < P r e s e n t a t i o n O b j e c t T a g   T a g N a m e = " M M C O A _ F U L L I M A G E _ I D " / >  
     < P r e s e n t a t i o n O b j e c t T a g   T a g N a m e = " M M C O A _ S I L H O U E T T E _ I D " / >  
 < / M M C O A _ O b j e c t T a g s > 
</file>

<file path=customXml/item14.xml><?xml version="1.0" encoding="utf-8"?>
<?mso-contentType ?>
<FormTemplates xmlns="http://schemas.microsoft.com/sharepoint/v3/contenttype/forms">
  <Display>DocumentLibraryForm</Display>
  <Edit>DocumentLibraryForm</Edit>
  <New>DocumentLibraryForm</New>
</FormTemplates>
</file>

<file path=customXml/item2.xml>��< ? x m l   v e r s i o n = " 1 . 0 "   e n c o d i n g = " u t f - 1 6 " ? > < M M C O A _ O b j e c t T a g s   x m l n s : x s i = " h t t p : / / w w w . w 3 . o r g / 2 0 0 1 / X M L S c h e m a - i n s t a n c e "   x m l n s : x s d = " h t t p : / / w w w . w 3 . o r g / 2 0 0 1 / X M L S c h e m a " >  
     < P r e s e n t a t i o n O b j e c t T a g   T a g N a m e = " M M C 0 9 _ B R A N D F O N T S T Y L E " > C o v e r H e a d i n g 1 < / P r e s e n t a t i o n O b j e c t T a g >  
     < P r e s e n t a t i o n O b j e c t T a g   T a g N a m e = " M M C 0 9 _ F O N T S I Z E _ L " > 1 2 0 < / P r e s e n t a t i o n O b j e c t T a g >  
     < P r e s e n t a t i o n O b j e c t T a g   T a g N a m e = " M M C 0 9 _ F O N T S I Z E _ M " > 6 0 < / P r e s e n t a t i o n O b j e c t T a g >  
     < P r e s e n t a t i o n O b j e c t T a g   T a g N a m e = " M M C 0 9 _ F O N T S I Z E _ S " > 4 8 < / P r e s e n t a t i o n O b j e c t T a g >  
     < P r e s e n t a t i o n O b j e c t T a g   T a g N a m e = " M M C 0 9 _ S H A P E X Y W H _ L " > 3 2 . 6 ; 1 5 0 . 4 8 ; 7 3 7 ; 1 3 5 < / P r e s e n t a t i o n O b j e c t T a g >  
     < P r e s e n t a t i o n O b j e c t T a g   T a g N a m e = " M M C 0 9 _ S H A P E X Y W H _ M " > 3 5 . 4 3 ; 1 5 0 . 2 3 ; 7 3 7 ; 1 2 6 . 1 4 < / P r e s e n t a t i o n O b j e c t T a g >  
     < P r e s e n t a t i o n O b j e c t T a g   T a g N a m e = " M M C 0 9 _ S H A P E X Y W H _ S " > 3 5 . 4 3 ; 1 5 0 . 2 3 ; 7 3 7 ; 1 2 6 . 1 4 < / P r e s e n t a t i o n O b j e c t T a g >  
     < P r e s e n t a t i o n O b j e c t T a g   T a g N a m e = " M M C 0 9 _ P L A C E H O L D E R T E X T " > [ M M C 2 0 2 1 P P T e m p l a t e . P l a c e h o l d e r H 1 ] < / P r e s e n t a t i o n O b j e c t T a g >  
 < / M M C O A _ O b j e c t T a g s > 
</file>

<file path=customXml/item3.xml>��< ? x m l   v e r s i o n = " 1 . 0 "   e n c o d i n g = " u t f - 1 6 " ? > < M M C O A _ O b j e c t T a g s   x m l n s : x s i = " h t t p : / / w w w . w 3 . o r g / 2 0 0 1 / X M L S c h e m a - i n s t a n c e "   x m l n s : x s d = " h t t p : / / w w w . w 3 . o r g / 2 0 0 1 / X M L S c h e m a " >  
     < P r e s e n t a t i o n O b j e c t T a g   T a g N a m e = " M M C 0 9 _ B R A N D F O N T S T Y L E " > C o v e r T e x t < / P r e s e n t a t i o n O b j e c t T a g >  
     < P r e s e n t a t i o n O b j e c t T a g   T a g N a m e = " M M C 0 9 _ P O P U L A T E T E X T " > { L e g a l F r o n t } < / P r e s e n t a t i o n O b j e c t T a g >  
 < / M M C O A _ O b j e c t T a g s > 
</file>

<file path=customXml/item4.xml>��< ? x m l   v e r s i o n = " 1 . 0 "   e n c o d i n g = " u t f - 1 6 " ? > < M M C O A _ O b j e c t T a g s   x m l n s : x s i = " h t t p : / / w w w . w 3 . o r g / 2 0 0 1 / X M L S c h e m a - i n s t a n c e "   x m l n s : x s d = " h t t p : / / w w w . w 3 . o r g / 2 0 0 1 / X M L S c h e m a " >  
     < P r e s e n t a t i o n O b j e c t T a g   T a g N a m e = " M M C 0 9 _ P O P U L A T E T E X T " > [ M M C 2 0 2 1 P P T e m p l a t e . P l a c e h o l d e r C l i e n t ] < / P r e s e n t a t i o n O b j e c t T a g >  
     < P r e s e n t a t i o n O b j e c t T a g   T a g N a m e = " M M C 0 9 _ S H O W H I D E C R I T E R I A " > C L I E N T _ L O G O < / P r e s e n t a t i o n O b j e c t T a g >  
 < / M M C O A _ O b j e c t T a g s > 
</file>

<file path=customXml/item5.xml><?xml version="1.0" encoding="utf-8"?>
<p:properties xmlns:p="http://schemas.microsoft.com/office/2006/metadata/properties" xmlns:xsi="http://www.w3.org/2001/XMLSchema-instance" xmlns:pc="http://schemas.microsoft.com/office/infopath/2007/PartnerControls">
  <documentManagement/>
</p:properties>
</file>

<file path=customXml/item6.xml>��< ? x m l   v e r s i o n = " 1 . 0 "   e n c o d i n g = " u t f - 1 6 " ? > < M M C O A _ O b j e c t T a g s   x m l n s : x s i = " h t t p : / / w w w . w 3 . o r g / 2 0 0 1 / X M L S c h e m a - i n s t a n c e "   x m l n s : x s d = " h t t p : / / w w w . w 3 . o r g / 2 0 0 1 / X M L S c h e m a " >  
     < P r e s e n t a t i o n O b j e c t T a g   T a g N a m e = " M M C 0 9 _ B R A N D F O N T S T Y L E " > C o v e r T a g l i n e < / P r e s e n t a t i o n O b j e c t T a g >  
     < P r e s e n t a t i o n O b j e c t T a g   T a g N a m e = " M M C 0 9 _ P O P U L A T E T E X T " > { T a g l i n e E x t r a W o r d i n g } < / P r e s e n t a t i o n O b j e c t T a g >  
 < / M M C O A _ O b j e c t T a g s > 
</file>

<file path=customXml/item7.xml>��< ? x m l   v e r s i o n = " 1 . 0 "   e n c o d i n g = " u t f - 1 6 " ? > < M M C O A _ O b j e c t T a g s   x m l n s : x s i = " h t t p : / / w w w . w 3 . o r g / 2 0 0 1 / X M L S c h e m a - i n s t a n c e "   x m l n s : x s d = " h t t p : / / w w w . w 3 . o r g / 2 0 0 1 / X M L S c h e m a " >  
     < P r e s e n t a t i o n O b j e c t T a g   T a g N a m e = " M M C 0 9 _ B R A N D F O N T S T Y L E " > C o v e r T e x t < / P r e s e n t a t i o n O b j e c t T a g >  
 < / M M C O A _ O b j e c t T a g s > 
</file>

<file path=customXml/item8.xml>��< ? x m l   v e r s i o n = " 1 . 0 "   e n c o d i n g = " u t f - 1 6 " ? > < M M C O A _ O b j e c t T a g s   x m l n s : x s i = " h t t p : / / w w w . w 3 . o r g / 2 0 0 1 / X M L S c h e m a - i n s t a n c e "   x m l n s : x s d = " h t t p : / / w w w . w 3 . o r g / 2 0 0 1 / X M L S c h e m a " >  
     < P r e s e n t a t i o n O b j e c t T a g   T a g N a m e = " M M C 0 9 _ P O P U L A T E T E X T " > { T i t l e } < / P r e s e n t a t i o n O b j e c t T a g >  
 < / M M C O A _ O b j e c t T a g s > 
</file>

<file path=customXml/item9.xml>��< ? x m l   v e r s i o n = " 1 . 0 "   e n c o d i n g = " u t f - 1 6 " ? > < M M C O A _ O b j e c t T a g s   x m l n s : x s i = " h t t p : / / w w w . w 3 . o r g / 2 0 0 1 / X M L S c h e m a - i n s t a n c e "   x m l n s : x s d = " h t t p : / / w w w . w 3 . o r g / 2 0 0 1 / X M L S c h e m a " >  
     < P r e s e n t a t i o n O b j e c t T a g   T a g N a m e = " M M C 0 9 _ B R A N D F O N T S T Y L E " > C o v e r H e a d i n g 2 < / P r e s e n t a t i o n O b j e c t T a g >  
     < P r e s e n t a t i o n O b j e c t T a g   T a g N a m e = " M M C 0 9 _ F O N T S I Z E _ L " > 2 4 < / P r e s e n t a t i o n O b j e c t T a g >  
     < P r e s e n t a t i o n O b j e c t T a g   T a g N a m e = " M M C 0 9 _ F O N T S I Z E _ M " > 2 4 < / P r e s e n t a t i o n O b j e c t T a g >  
     < P r e s e n t a t i o n O b j e c t T a g   T a g N a m e = " M M C 0 9 _ F O N T S I Z E _ S " > 2 4 < / P r e s e n t a t i o n O b j e c t T a g >  
     < P r e s e n t a t i o n O b j e c t T a g   T a g N a m e = " M M C 0 9 _ S H A P E X Y W H _ L " > 3 6 . 8 5 ; 2 8 2 . 2 4 ; 7 3 2 . 7 5 ; 2 9 . 7 6 < / P r e s e n t a t i o n O b j e c t T a g >  
     < P r e s e n t a t i o n O b j e c t T a g   T a g N a m e = " M M C 0 9 _ S H A P E X Y W H _ M " > 3 6 . 8 5 ; 2 9 1 . 9 7 ; 7 3 4 . 1 7 ; 6 2 . 3 6 < / P r e s e n t a t i o n O b j e c t T a g >  
     < P r e s e n t a t i o n O b j e c t T a g   T a g N a m e = " M M C 0 9 _ S H A P E X Y W H _ S " > 3 6 . 8 5 ; 2 6 7 . 8 7 ; 7 3 5 . 5 9 ; 6 2 . 3 6 < / P r e s e n t a t i o n O b j e c t T a g >  
     < P r e s e n t a t i o n O b j e c t T a g   T a g N a m e = " M M C 0 9 _ P L A C E H O L D E R T E X T " > [ M M C 2 0 2 1 P P T e m p l a t e . P l a c e h o l d e r H 2 ] < / P r e s e n t a t i o n O b j e c t T a g >  
 < / M M C O A _ O b j e c t T a g s > 
</file>

<file path=customXml/itemProps1.xml><?xml version="1.0" encoding="utf-8"?>
<ds:datastoreItem xmlns:ds="http://schemas.openxmlformats.org/officeDocument/2006/customXml" ds:itemID="{A2D2B5EA-26B4-48AA-836A-27A95A0AA057}">
  <ds:schemaRefs>
    <ds:schemaRef ds:uri="http://www.w3.org/2001/XMLSchema"/>
  </ds:schemaRefs>
</ds:datastoreItem>
</file>

<file path=customXml/itemProps10.xml><?xml version="1.0" encoding="utf-8"?>
<ds:datastoreItem xmlns:ds="http://schemas.openxmlformats.org/officeDocument/2006/customXml" ds:itemID="{B3B12E2A-4CEF-41D4-B44A-015C2695F51B}">
  <ds:schemaRefs>
    <ds:schemaRef ds:uri="http://www.w3.org/2001/XMLSchema"/>
  </ds:schemaRefs>
</ds:datastoreItem>
</file>

<file path=customXml/itemProps11.xml><?xml version="1.0" encoding="utf-8"?>
<ds:datastoreItem xmlns:ds="http://schemas.openxmlformats.org/officeDocument/2006/customXml" ds:itemID="{65F247DE-38EC-475C-B078-29F04A80379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bde8da2-f31a-44c0-a1d5-6b87fec3c76e"/>
    <ds:schemaRef ds:uri="7f0453b8-ab38-4dc1-916f-db52cb99978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12.xml><?xml version="1.0" encoding="utf-8"?>
<ds:datastoreItem xmlns:ds="http://schemas.openxmlformats.org/officeDocument/2006/customXml" ds:itemID="{FFCFF866-B782-462C-B23B-92E4218871E8}">
  <ds:schemaRefs>
    <ds:schemaRef ds:uri="http://www.w3.org/2001/XMLSchema"/>
  </ds:schemaRefs>
</ds:datastoreItem>
</file>

<file path=customXml/itemProps13.xml><?xml version="1.0" encoding="utf-8"?>
<ds:datastoreItem xmlns:ds="http://schemas.openxmlformats.org/officeDocument/2006/customXml" ds:itemID="{2C37CD32-814C-495D-8C13-F759C3DEC8C4}">
  <ds:schemaRefs>
    <ds:schemaRef ds:uri="http://www.w3.org/2001/XMLSchema"/>
  </ds:schemaRefs>
</ds:datastoreItem>
</file>

<file path=customXml/itemProps14.xml><?xml version="1.0" encoding="utf-8"?>
<ds:datastoreItem xmlns:ds="http://schemas.openxmlformats.org/officeDocument/2006/customXml" ds:itemID="{5BDA1440-537D-43CC-A458-78CFA0806A74}">
  <ds:schemaRefs>
    <ds:schemaRef ds:uri="http://schemas.microsoft.com/sharepoint/v3/contenttype/forms"/>
  </ds:schemaRefs>
</ds:datastoreItem>
</file>

<file path=customXml/itemProps2.xml><?xml version="1.0" encoding="utf-8"?>
<ds:datastoreItem xmlns:ds="http://schemas.openxmlformats.org/officeDocument/2006/customXml" ds:itemID="{535DD0E2-5F87-46D2-ADCB-BF3B14328B93}">
  <ds:schemaRefs>
    <ds:schemaRef ds:uri="http://www.w3.org/2001/XMLSchema"/>
  </ds:schemaRefs>
</ds:datastoreItem>
</file>

<file path=customXml/itemProps3.xml><?xml version="1.0" encoding="utf-8"?>
<ds:datastoreItem xmlns:ds="http://schemas.openxmlformats.org/officeDocument/2006/customXml" ds:itemID="{C41181A3-BF44-4324-AECB-875CE9EE15F3}">
  <ds:schemaRefs>
    <ds:schemaRef ds:uri="http://www.w3.org/2001/XMLSchema"/>
  </ds:schemaRefs>
</ds:datastoreItem>
</file>

<file path=customXml/itemProps4.xml><?xml version="1.0" encoding="utf-8"?>
<ds:datastoreItem xmlns:ds="http://schemas.openxmlformats.org/officeDocument/2006/customXml" ds:itemID="{7514C59C-37A2-4548-8176-DEE012C681C8}">
  <ds:schemaRefs>
    <ds:schemaRef ds:uri="http://www.w3.org/2001/XMLSchema"/>
  </ds:schemaRefs>
</ds:datastoreItem>
</file>

<file path=customXml/itemProps5.xml><?xml version="1.0" encoding="utf-8"?>
<ds:datastoreItem xmlns:ds="http://schemas.openxmlformats.org/officeDocument/2006/customXml" ds:itemID="{4AA4D1D2-29FE-48E8-9782-6E1A2599091A}">
  <ds:schemaRefs>
    <ds:schemaRef ds:uri="http://purl.org/dc/elements/1.1/"/>
    <ds:schemaRef ds:uri="http://schemas.microsoft.com/office/2006/metadata/properties"/>
    <ds:schemaRef ds:uri="bbde8da2-f31a-44c0-a1d5-6b87fec3c76e"/>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7f0453b8-ab38-4dc1-916f-db52cb999787"/>
    <ds:schemaRef ds:uri="http://www.w3.org/XML/1998/namespace"/>
    <ds:schemaRef ds:uri="http://purl.org/dc/dcmitype/"/>
  </ds:schemaRefs>
</ds:datastoreItem>
</file>

<file path=customXml/itemProps6.xml><?xml version="1.0" encoding="utf-8"?>
<ds:datastoreItem xmlns:ds="http://schemas.openxmlformats.org/officeDocument/2006/customXml" ds:itemID="{4E18DFB7-AF42-4887-A653-6AE4E129405F}">
  <ds:schemaRefs>
    <ds:schemaRef ds:uri="http://www.w3.org/2001/XMLSchema"/>
  </ds:schemaRefs>
</ds:datastoreItem>
</file>

<file path=customXml/itemProps7.xml><?xml version="1.0" encoding="utf-8"?>
<ds:datastoreItem xmlns:ds="http://schemas.openxmlformats.org/officeDocument/2006/customXml" ds:itemID="{F59C340D-4F57-43A3-B5CD-4712B5DB8E9D}">
  <ds:schemaRefs>
    <ds:schemaRef ds:uri="http://www.w3.org/2001/XMLSchema"/>
  </ds:schemaRefs>
</ds:datastoreItem>
</file>

<file path=customXml/itemProps8.xml><?xml version="1.0" encoding="utf-8"?>
<ds:datastoreItem xmlns:ds="http://schemas.openxmlformats.org/officeDocument/2006/customXml" ds:itemID="{D14872BF-36DF-44ED-AFBA-A9DEF6435A9D}">
  <ds:schemaRefs>
    <ds:schemaRef ds:uri="http://www.w3.org/2001/XMLSchema"/>
  </ds:schemaRefs>
</ds:datastoreItem>
</file>

<file path=customXml/itemProps9.xml><?xml version="1.0" encoding="utf-8"?>
<ds:datastoreItem xmlns:ds="http://schemas.openxmlformats.org/officeDocument/2006/customXml" ds:itemID="{E4CF58FF-8B25-476F-8B2F-439CAFE774DB}">
  <ds:schemaRef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Guy Carpenter_PPT_Template_4-27-21</Template>
  <TotalTime>31626</TotalTime>
  <Words>1309</Words>
  <Application>Microsoft Office PowerPoint</Application>
  <PresentationFormat>Widescreen</PresentationFormat>
  <Paragraphs>105</Paragraphs>
  <Slides>12</Slides>
  <Notes>4</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20" baseType="lpstr">
      <vt:lpstr>MS PGothic</vt:lpstr>
      <vt:lpstr>Arial</vt:lpstr>
      <vt:lpstr>Arial Narrow</vt:lpstr>
      <vt:lpstr>Calibri</vt:lpstr>
      <vt:lpstr>System Font Regular</vt:lpstr>
      <vt:lpstr>Times New Roman</vt:lpstr>
      <vt:lpstr>Guy Carpenter</vt:lpstr>
      <vt:lpstr>think-cell Slide</vt:lpstr>
      <vt:lpstr>ESTADO DEL MERCADO RENOVACIONES JulIO 2022 </vt:lpstr>
      <vt:lpstr>Factores Macro</vt:lpstr>
      <vt:lpstr>Factores del Mercado</vt:lpstr>
      <vt:lpstr>Factores de Mercado</vt:lpstr>
      <vt:lpstr>Índice Global del ROL en Property</vt:lpstr>
      <vt:lpstr>Property XOL – Cambio en Precios Riesgo-Ajustado</vt:lpstr>
      <vt:lpstr>Property Pro Rata – Cambios Típicos de Precio Riesgo-Ajustado</vt:lpstr>
      <vt:lpstr>Aspectos a Destacas por Territorio / Línea de Negocio</vt:lpstr>
      <vt:lpstr>Temas Emergentes</vt:lpstr>
      <vt:lpstr>Asuntos Clave en Coberturas</vt:lpstr>
      <vt:lpstr>PowerPoint Presentation</vt:lpstr>
      <vt:lpstr>PowerPoint Presentation</vt:lpstr>
    </vt:vector>
  </TitlesOfParts>
  <Company>MM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lpful Links</dc:title>
  <dc:creator>Busenhart, Samantha</dc:creator>
  <cp:lastModifiedBy>Sanchez, Ramon</cp:lastModifiedBy>
  <cp:revision>313</cp:revision>
  <dcterms:created xsi:type="dcterms:W3CDTF">2021-08-03T20:36:56Z</dcterms:created>
  <dcterms:modified xsi:type="dcterms:W3CDTF">2022-09-02T14:39: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8FEFF94A7971A4D81883C31CFA75AFF</vt:lpwstr>
  </property>
  <property fmtid="{D5CDD505-2E9C-101B-9397-08002B2CF9AE}" pid="3" name="MSIP_Label_38f1469a-2c2a-4aee-b92b-090d4c5468ff_Enabled">
    <vt:lpwstr>true</vt:lpwstr>
  </property>
  <property fmtid="{D5CDD505-2E9C-101B-9397-08002B2CF9AE}" pid="4" name="MSIP_Label_38f1469a-2c2a-4aee-b92b-090d4c5468ff_SetDate">
    <vt:lpwstr>2021-11-23T01:50:32Z</vt:lpwstr>
  </property>
  <property fmtid="{D5CDD505-2E9C-101B-9397-08002B2CF9AE}" pid="5" name="MSIP_Label_38f1469a-2c2a-4aee-b92b-090d4c5468ff_Method">
    <vt:lpwstr>Standard</vt:lpwstr>
  </property>
  <property fmtid="{D5CDD505-2E9C-101B-9397-08002B2CF9AE}" pid="6" name="MSIP_Label_38f1469a-2c2a-4aee-b92b-090d4c5468ff_Name">
    <vt:lpwstr>Confidential - Unmarked</vt:lpwstr>
  </property>
  <property fmtid="{D5CDD505-2E9C-101B-9397-08002B2CF9AE}" pid="7" name="MSIP_Label_38f1469a-2c2a-4aee-b92b-090d4c5468ff_SiteId">
    <vt:lpwstr>2a6e6092-73e4-4752-b1a5-477a17f5056d</vt:lpwstr>
  </property>
  <property fmtid="{D5CDD505-2E9C-101B-9397-08002B2CF9AE}" pid="8" name="MSIP_Label_38f1469a-2c2a-4aee-b92b-090d4c5468ff_ActionId">
    <vt:lpwstr>bbe37079-a06d-4496-a0f1-97b75e1f13c6</vt:lpwstr>
  </property>
  <property fmtid="{D5CDD505-2E9C-101B-9397-08002B2CF9AE}" pid="9" name="MSIP_Label_38f1469a-2c2a-4aee-b92b-090d4c5468ff_ContentBits">
    <vt:lpwstr>0</vt:lpwstr>
  </property>
</Properties>
</file>